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3" r:id="rId1"/>
  </p:sldMasterIdLst>
  <p:notesMasterIdLst>
    <p:notesMasterId r:id="rId9"/>
  </p:notesMasterIdLst>
  <p:handoutMasterIdLst>
    <p:handoutMasterId r:id="rId10"/>
  </p:handoutMasterIdLst>
  <p:sldIdLst>
    <p:sldId id="552" r:id="rId2"/>
    <p:sldId id="256" r:id="rId3"/>
    <p:sldId id="586" r:id="rId4"/>
    <p:sldId id="2425" r:id="rId5"/>
    <p:sldId id="2424" r:id="rId6"/>
    <p:sldId id="466" r:id="rId7"/>
    <p:sldId id="452" r:id="rId8"/>
  </p:sldIdLst>
  <p:sldSz cx="12192000" cy="6858000"/>
  <p:notesSz cx="6797675" cy="9926638"/>
  <p:custDataLst>
    <p:tags r:id="rId11"/>
  </p:custDataLst>
  <p:defaultTextStyle>
    <a:defPPr>
      <a:defRPr lang="es-ES"/>
    </a:defPPr>
    <a:lvl1pPr marL="0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1pPr>
    <a:lvl2pPr marL="456895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2pPr>
    <a:lvl3pPr marL="913790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3pPr>
    <a:lvl4pPr marL="1370684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4pPr>
    <a:lvl5pPr marL="1827581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5pPr>
    <a:lvl6pPr marL="2284477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6pPr>
    <a:lvl7pPr marL="2741372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7pPr>
    <a:lvl8pPr marL="3198266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8pPr>
    <a:lvl9pPr marL="3655161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D2288325-B50F-144B-A410-0AFC51854569}">
          <p14:sldIdLst>
            <p14:sldId id="552"/>
            <p14:sldId id="256"/>
            <p14:sldId id="586"/>
            <p14:sldId id="2425"/>
            <p14:sldId id="2424"/>
          </p14:sldIdLst>
        </p14:section>
        <p14:section name="Cierre" id="{241FE5EB-5EAF-B343-9F1E-BC91D0829D52}">
          <p14:sldIdLst>
            <p14:sldId id="466"/>
            <p14:sldId id="45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022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5E5EE"/>
    <a:srgbClr val="D5E5EF"/>
    <a:srgbClr val="DEEBF4"/>
    <a:srgbClr val="EEF5F9"/>
    <a:srgbClr val="E9F2F7"/>
    <a:srgbClr val="D4E5F0"/>
    <a:srgbClr val="E7E6E6"/>
    <a:srgbClr val="FCE3D4"/>
    <a:srgbClr val="E389A0"/>
    <a:srgbClr val="FBD5B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Estilo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Estilo medio 4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16D9F66E-5EB9-4882-86FB-DCBF35E3C3E4}" styleName="Estilo medio 4 - Énfasis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AF606853-7671-496A-8E4F-DF71F8EC918B}" styleName="Estilo oscuro 1 - Énfasis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Estilo oscuro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Estilo oscuro 2 - Énfasis 5/Énfasis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85BE263C-DBD7-4A20-BB59-AAB30ACAA65A}" styleName="Estilo medio 3 - Énfasis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Estilo medio 3 - Énfasis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Estilo medio 3 - Énfasis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8EC20E35-A176-4012-BC5E-935CFFF8708E}" styleName="Estilo me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B4B98B0-60AC-42C2-AFA5-B58CD77FA1E5}" styleName="Estilo claro 1 - Acent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455" autoAdjust="0"/>
    <p:restoredTop sz="94105" autoAdjust="0"/>
  </p:normalViewPr>
  <p:slideViewPr>
    <p:cSldViewPr snapToObjects="1" showGuides="1">
      <p:cViewPr varScale="1">
        <p:scale>
          <a:sx n="131" d="100"/>
          <a:sy n="131" d="100"/>
        </p:scale>
        <p:origin x="384" y="184"/>
      </p:cViewPr>
      <p:guideLst>
        <p:guide orient="horz" pos="3022"/>
        <p:guide pos="3840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00" d="100"/>
        <a:sy n="100" d="100"/>
      </p:scale>
      <p:origin x="0" y="-31240"/>
    </p:cViewPr>
  </p:sorterViewPr>
  <p:notesViewPr>
    <p:cSldViewPr snapToObjects="1" showGuides="1">
      <p:cViewPr varScale="1">
        <p:scale>
          <a:sx n="113" d="100"/>
          <a:sy n="113" d="100"/>
        </p:scale>
        <p:origin x="3608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D5B29DC9-D08B-4949-81E2-39C6CEC68F6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l">
              <a:defRPr sz="1200"/>
            </a:lvl1pPr>
          </a:lstStyle>
          <a:p>
            <a:endParaRPr lang="es-ES" dirty="0">
              <a:latin typeface="Soho Gothic Pro Light" panose="020B0303030504020204" pitchFamily="34" charset="0"/>
            </a:endParaRPr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C99F9DC3-28BB-D94C-85E9-90396F03A58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r">
              <a:defRPr sz="1200"/>
            </a:lvl1pPr>
          </a:lstStyle>
          <a:p>
            <a:fld id="{44FE4C93-B9AD-774B-B059-E1A53E3045D5}" type="datetimeFigureOut">
              <a:rPr lang="es-ES" smtClean="0">
                <a:latin typeface="Soho Gothic Pro Light" panose="020B0303030504020204" pitchFamily="34" charset="0"/>
              </a:rPr>
              <a:t>15/6/21</a:t>
            </a:fld>
            <a:endParaRPr lang="es-ES" dirty="0">
              <a:latin typeface="Soho Gothic Pro Light" panose="020B0303030504020204" pitchFamily="34" charset="0"/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FE33F6B1-C943-874F-81C8-5CB8F4F2E28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l">
              <a:defRPr sz="1200"/>
            </a:lvl1pPr>
          </a:lstStyle>
          <a:p>
            <a:endParaRPr lang="es-ES" dirty="0">
              <a:latin typeface="Soho Gothic Pro Light" panose="020B0303030504020204" pitchFamily="34" charset="0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CEB7C242-1592-974F-B931-024110D2C69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r">
              <a:defRPr sz="1200"/>
            </a:lvl1pPr>
          </a:lstStyle>
          <a:p>
            <a:fld id="{13E42EBE-F2C8-DB4B-9CF8-781446FF5229}" type="slidenum">
              <a:rPr lang="es-ES" smtClean="0">
                <a:latin typeface="Soho Gothic Pro Light" panose="020B0303030504020204" pitchFamily="34" charset="0"/>
              </a:rPr>
              <a:t>‹#›</a:t>
            </a:fld>
            <a:endParaRPr lang="es-ES" dirty="0">
              <a:latin typeface="Soho Gothic Pro Light" panose="020B0303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85962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l">
              <a:defRPr sz="1200">
                <a:latin typeface="Soho Gothic Pro Light" panose="020B0303030504020204" pitchFamily="34" charset="0"/>
              </a:defRPr>
            </a:lvl1pPr>
          </a:lstStyle>
          <a:p>
            <a:endParaRPr lang="es-ES" dirty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r">
              <a:defRPr sz="1200">
                <a:latin typeface="Soho Gothic Pro Light" panose="020B0303030504020204" pitchFamily="34" charset="0"/>
              </a:defRPr>
            </a:lvl1pPr>
          </a:lstStyle>
          <a:p>
            <a:fld id="{C82A976D-0EBD-E345-809C-21C952C27942}" type="datetimeFigureOut">
              <a:rPr lang="es-ES" smtClean="0"/>
              <a:pPr/>
              <a:t>15/6/21</a:t>
            </a:fld>
            <a:endParaRPr lang="es-ES" dirty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345" tIns="46173" rIns="92345" bIns="46173" rtlCol="0" anchor="ctr"/>
          <a:lstStyle/>
          <a:p>
            <a:endParaRPr lang="es-ES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79768" y="4777196"/>
            <a:ext cx="5438140" cy="3908613"/>
          </a:xfrm>
          <a:prstGeom prst="rect">
            <a:avLst/>
          </a:prstGeom>
        </p:spPr>
        <p:txBody>
          <a:bodyPr vert="horz" lIns="92345" tIns="46173" rIns="92345" bIns="46173" rtlCol="0"/>
          <a:lstStyle/>
          <a:p>
            <a:r>
              <a:rPr lang="es-ES"/>
              <a:t>Editar los estilos de texto del patrón
Segundo nivel
Tercer nivel
Cuarto nivel
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l">
              <a:defRPr sz="1200">
                <a:latin typeface="Soho Gothic Pro Light" panose="020B0303030504020204" pitchFamily="34" charset="0"/>
              </a:defRPr>
            </a:lvl1pPr>
          </a:lstStyle>
          <a:p>
            <a:endParaRPr lang="es-ES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r">
              <a:defRPr sz="1200">
                <a:latin typeface="Soho Gothic Pro Light" panose="020B0303030504020204" pitchFamily="34" charset="0"/>
              </a:defRPr>
            </a:lvl1pPr>
          </a:lstStyle>
          <a:p>
            <a:fld id="{7001BFE9-5FDD-E045-9186-025D41341214}" type="slidenum">
              <a:rPr lang="es-ES" smtClean="0"/>
              <a:pPr/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7642323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8387" rtl="0" eaLnBrk="1" latinLnBrk="0" hangingPunct="1">
      <a:defRPr sz="1599" kern="1200">
        <a:solidFill>
          <a:schemeClr val="tx1"/>
        </a:solidFill>
        <a:latin typeface="Soho Gothic Pro Light" panose="020B0303030504020204" pitchFamily="34" charset="0"/>
        <a:ea typeface="+mn-ea"/>
        <a:cs typeface="+mn-cs"/>
      </a:defRPr>
    </a:lvl1pPr>
    <a:lvl2pPr marL="609194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2pPr>
    <a:lvl3pPr marL="1218387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3pPr>
    <a:lvl4pPr marL="1827581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4pPr>
    <a:lvl5pPr marL="2436774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5pPr>
    <a:lvl6pPr marL="3045968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6pPr>
    <a:lvl7pPr marL="3655161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7pPr>
    <a:lvl8pPr marL="4264355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8pPr>
    <a:lvl9pPr marL="4873548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2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746303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3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3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3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3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3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3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Portada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4"/>
            <a:ext cx="12192000" cy="6877415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36002" y="383588"/>
            <a:ext cx="3725333" cy="2147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66"/>
            </a:lvl1pPr>
          </a:lstStyle>
          <a:p>
            <a:r>
              <a:rPr lang="es-ES" dirty="0"/>
              <a:t>Editar el subtitulo de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36002" y="689241"/>
            <a:ext cx="3725333" cy="15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333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6000" y="986371"/>
            <a:ext cx="1799167" cy="63923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3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9954" y="2873081"/>
            <a:ext cx="6626810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5997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5126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parata n1. 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5" y="1592921"/>
            <a:ext cx="705260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1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#›</a:t>
            </a:fld>
            <a:endParaRPr lang="es-ES" sz="1066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52231655-E814-554D-A77B-76AE9E4B8F3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3371563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5" y="1592921"/>
            <a:ext cx="705260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1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#›</a:t>
            </a:fld>
            <a:endParaRPr lang="es-ES" sz="1066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A23CE7FB-CF5A-CA42-B78E-69EC6A848FB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7204794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parata n1. 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5" y="1592921"/>
            <a:ext cx="705260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1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#›</a:t>
            </a:fld>
            <a:endParaRPr lang="es-ES" sz="1066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881361F9-92A8-6949-BEF9-77B573EB2B5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6566157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parata n1. 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5" y="1592921"/>
            <a:ext cx="705260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1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#›</a:t>
            </a:fld>
            <a:endParaRPr lang="es-ES" sz="1066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74E9E540-B7BF-4344-8072-B7008201BE2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3677049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#›</a:t>
            </a:fld>
            <a:endParaRPr lang="es-ES" sz="1066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760C3CE1-1E28-6546-9D6D-A09B9CDA199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8914225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#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DEC9B28E-6B7A-0E4E-B90F-9C217C75299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6167774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1_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#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59D1119D-7D51-D44F-94AB-E6DA2AD81F7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7333125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3" y="1592921"/>
            <a:ext cx="6818927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#›</a:t>
            </a:fld>
            <a:endParaRPr lang="es-ES" sz="1066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A1B5AB55-B564-F54E-A43A-49F65087AAE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8146948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#›</a:t>
            </a:fld>
            <a:endParaRPr lang="es-ES" sz="1066" dirty="0">
              <a:solidFill>
                <a:schemeClr val="bg1"/>
              </a:solidFill>
            </a:endParaRP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AF48F91E-AAFB-524A-95AE-FEB5DBF353F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8773900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#›</a:t>
            </a:fld>
            <a:endParaRPr lang="es-ES" sz="1066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FC254CD5-68FD-894C-AC6F-D3DF03A43FE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8480893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Portada f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36001" y="3311240"/>
            <a:ext cx="4842163" cy="2480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66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36002" y="3743044"/>
            <a:ext cx="3725333" cy="15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333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6000" y="382577"/>
            <a:ext cx="1799167" cy="63923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3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675" y="1421649"/>
            <a:ext cx="7563994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5330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64745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#›</a:t>
            </a:fld>
            <a:endParaRPr lang="es-ES" sz="1066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28F0CE16-977C-DF45-B8D7-297950F18BF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5658536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#›</a:t>
            </a:fld>
            <a:endParaRPr lang="es-ES" sz="1066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22E0AD7B-150C-EB41-978F-26BBDF5F422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4794499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icpal_Gri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70" y="7253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8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#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17" name="Imagen 16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</p:spTree>
    <p:extLst>
      <p:ext uri="{BB962C8B-B14F-4D97-AF65-F5344CB8AC3E}">
        <p14:creationId xmlns:p14="http://schemas.microsoft.com/office/powerpoint/2010/main" val="40372218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Pie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70" y="7253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8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38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1066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77"/>
                <a:ea typeface="+mn-ea"/>
                <a:cs typeface="+mn-cs"/>
              </a:rPr>
              <a:pPr marL="0" marR="0" lvl="0" indent="0" algn="r" defTabSz="9138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ES" sz="1066" b="0" i="0" u="none" strike="noStrike" kern="120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Soho Gothic Pro" panose="020B0503030504020204" pitchFamily="34" charset="77"/>
              <a:ea typeface="+mn-ea"/>
              <a:cs typeface="+mn-cs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7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</p:spTree>
    <p:extLst>
      <p:ext uri="{BB962C8B-B14F-4D97-AF65-F5344CB8AC3E}">
        <p14:creationId xmlns:p14="http://schemas.microsoft.com/office/powerpoint/2010/main" val="41649596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Grafi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70" y="7253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8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#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6001" y="6505495"/>
            <a:ext cx="859201" cy="170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96478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marill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70" y="7164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8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38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1066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77"/>
                <a:ea typeface="+mn-ea"/>
                <a:cs typeface="+mn-cs"/>
              </a:rPr>
              <a:pPr marL="0" marR="0" lvl="0" indent="0" algn="r" defTabSz="9138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ES" sz="1066" b="0" i="0" u="none" strike="noStrike" kern="120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Soho Gothic Pro" panose="020B0503030504020204" pitchFamily="34" charset="77"/>
              <a:ea typeface="+mn-ea"/>
              <a:cs typeface="+mn-cs"/>
            </a:endParaRPr>
          </a:p>
        </p:txBody>
      </p:sp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</p:spTree>
    <p:extLst>
      <p:ext uri="{BB962C8B-B14F-4D97-AF65-F5344CB8AC3E}">
        <p14:creationId xmlns:p14="http://schemas.microsoft.com/office/powerpoint/2010/main" val="9626730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Naranj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70" y="716498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8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#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6001" y="6505495"/>
            <a:ext cx="859201" cy="170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8262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Ros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70" y="7164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8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#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6001" y="6505495"/>
            <a:ext cx="859201" cy="170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5113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Ver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70" y="7164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8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#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6001" y="6505495"/>
            <a:ext cx="859201" cy="170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3231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zu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70" y="716498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8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#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6001" y="6505495"/>
            <a:ext cx="859201" cy="170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68233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Portada 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36004" y="4414944"/>
            <a:ext cx="5651500" cy="2904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2" y="2428697"/>
            <a:ext cx="6310745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400"/>
            </a:lvl1pPr>
          </a:lstStyle>
          <a:p>
            <a:r>
              <a:rPr lang="es-ES" dirty="0"/>
              <a:t>Haga clic para </a:t>
            </a:r>
            <a:br>
              <a:rPr lang="es-ES" dirty="0"/>
            </a:br>
            <a:r>
              <a:rPr lang="es-ES" dirty="0"/>
              <a:t>el título principal</a:t>
            </a:r>
            <a:endParaRPr lang="en-US" dirty="0"/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36004" y="4853097"/>
            <a:ext cx="5651500" cy="1994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6000" y="986371"/>
            <a:ext cx="1799167" cy="63923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3"/>
            </a:lvl1pPr>
          </a:lstStyle>
          <a:p>
            <a:r>
              <a:rPr lang="es-ES" dirty="0"/>
              <a:t>Logo cliente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DB9B7611-A75B-714A-9D2A-408948DB3B5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085668" y="6337302"/>
            <a:ext cx="1444604" cy="176283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5014" y="6118996"/>
            <a:ext cx="1795156" cy="356183"/>
          </a:xfrm>
          <a:prstGeom prst="rect">
            <a:avLst/>
          </a:prstGeom>
        </p:spPr>
      </p:pic>
      <p:grpSp>
        <p:nvGrpSpPr>
          <p:cNvPr id="11" name="Grupo 10">
            <a:extLst>
              <a:ext uri="{FF2B5EF4-FFF2-40B4-BE49-F238E27FC236}">
                <a16:creationId xmlns:a16="http://schemas.microsoft.com/office/drawing/2014/main" id="{72D46510-3BCB-3746-AD05-84A58DE8C86D}"/>
              </a:ext>
            </a:extLst>
          </p:cNvPr>
          <p:cNvGrpSpPr/>
          <p:nvPr userDrawn="1"/>
        </p:nvGrpSpPr>
        <p:grpSpPr>
          <a:xfrm>
            <a:off x="6846376" y="1346032"/>
            <a:ext cx="2093250" cy="3698006"/>
            <a:chOff x="4700634" y="1022350"/>
            <a:chExt cx="1569938" cy="2774950"/>
          </a:xfrm>
          <a:solidFill>
            <a:schemeClr val="accent2"/>
          </a:solidFill>
        </p:grpSpPr>
        <p:sp>
          <p:nvSpPr>
            <p:cNvPr id="12" name="Rectángulo 6">
              <a:extLst>
                <a:ext uri="{FF2B5EF4-FFF2-40B4-BE49-F238E27FC236}">
                  <a16:creationId xmlns:a16="http://schemas.microsoft.com/office/drawing/2014/main" id="{7B3603A7-D7F6-D447-AC7E-DCEDD18B5644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13" name="Rectángulo 12">
              <a:extLst>
                <a:ext uri="{FF2B5EF4-FFF2-40B4-BE49-F238E27FC236}">
                  <a16:creationId xmlns:a16="http://schemas.microsoft.com/office/drawing/2014/main" id="{DEF7F3DA-3318-B54A-A86E-1C0912576A14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14" name="Rectángulo 13">
              <a:extLst>
                <a:ext uri="{FF2B5EF4-FFF2-40B4-BE49-F238E27FC236}">
                  <a16:creationId xmlns:a16="http://schemas.microsoft.com/office/drawing/2014/main" id="{AF95EF0D-64BD-8C41-9271-7C7E67BA1752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15" name="Rectángulo 14">
              <a:extLst>
                <a:ext uri="{FF2B5EF4-FFF2-40B4-BE49-F238E27FC236}">
                  <a16:creationId xmlns:a16="http://schemas.microsoft.com/office/drawing/2014/main" id="{7C54F4E3-09F1-DA4F-AC1E-D94DC533F11F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grpSp>
        <p:nvGrpSpPr>
          <p:cNvPr id="16" name="Grupo 15">
            <a:extLst>
              <a:ext uri="{FF2B5EF4-FFF2-40B4-BE49-F238E27FC236}">
                <a16:creationId xmlns:a16="http://schemas.microsoft.com/office/drawing/2014/main" id="{EB2B45F2-8D32-A344-93BE-979FC74FCFB7}"/>
              </a:ext>
            </a:extLst>
          </p:cNvPr>
          <p:cNvGrpSpPr/>
          <p:nvPr userDrawn="1"/>
        </p:nvGrpSpPr>
        <p:grpSpPr>
          <a:xfrm>
            <a:off x="8154785" y="1346032"/>
            <a:ext cx="2093250" cy="3698006"/>
            <a:chOff x="4700634" y="1022350"/>
            <a:chExt cx="1569938" cy="2774950"/>
          </a:xfrm>
          <a:solidFill>
            <a:schemeClr val="tx2"/>
          </a:solidFill>
        </p:grpSpPr>
        <p:sp>
          <p:nvSpPr>
            <p:cNvPr id="17" name="Rectángulo 6">
              <a:extLst>
                <a:ext uri="{FF2B5EF4-FFF2-40B4-BE49-F238E27FC236}">
                  <a16:creationId xmlns:a16="http://schemas.microsoft.com/office/drawing/2014/main" id="{B5C53D1D-2BE8-DC4D-9686-EE7D25277B36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18" name="Rectángulo 17">
              <a:extLst>
                <a:ext uri="{FF2B5EF4-FFF2-40B4-BE49-F238E27FC236}">
                  <a16:creationId xmlns:a16="http://schemas.microsoft.com/office/drawing/2014/main" id="{F900BB0B-5327-5945-98EC-D80CC934A2A3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19" name="Rectángulo 18">
              <a:extLst>
                <a:ext uri="{FF2B5EF4-FFF2-40B4-BE49-F238E27FC236}">
                  <a16:creationId xmlns:a16="http://schemas.microsoft.com/office/drawing/2014/main" id="{B1DD8B18-64B5-4948-BB66-287B0484AF59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20" name="Rectángulo 19">
              <a:extLst>
                <a:ext uri="{FF2B5EF4-FFF2-40B4-BE49-F238E27FC236}">
                  <a16:creationId xmlns:a16="http://schemas.microsoft.com/office/drawing/2014/main" id="{D12A53A6-630E-7B4D-A7A5-8AA797881B4E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grpSp>
        <p:nvGrpSpPr>
          <p:cNvPr id="21" name="Grupo 20">
            <a:extLst>
              <a:ext uri="{FF2B5EF4-FFF2-40B4-BE49-F238E27FC236}">
                <a16:creationId xmlns:a16="http://schemas.microsoft.com/office/drawing/2014/main" id="{C733D58C-D2A1-9040-B07D-82C6EAEF6E32}"/>
              </a:ext>
            </a:extLst>
          </p:cNvPr>
          <p:cNvGrpSpPr/>
          <p:nvPr userDrawn="1"/>
        </p:nvGrpSpPr>
        <p:grpSpPr>
          <a:xfrm>
            <a:off x="9463196" y="1346032"/>
            <a:ext cx="2093250" cy="3698006"/>
            <a:chOff x="4700634" y="1022350"/>
            <a:chExt cx="1569938" cy="2774950"/>
          </a:xfrm>
          <a:solidFill>
            <a:schemeClr val="accent5"/>
          </a:solidFill>
        </p:grpSpPr>
        <p:sp>
          <p:nvSpPr>
            <p:cNvPr id="22" name="Rectángulo 6">
              <a:extLst>
                <a:ext uri="{FF2B5EF4-FFF2-40B4-BE49-F238E27FC236}">
                  <a16:creationId xmlns:a16="http://schemas.microsoft.com/office/drawing/2014/main" id="{D71BC356-ED41-B049-88E2-47DC0FA3C96B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23" name="Rectángulo 22">
              <a:extLst>
                <a:ext uri="{FF2B5EF4-FFF2-40B4-BE49-F238E27FC236}">
                  <a16:creationId xmlns:a16="http://schemas.microsoft.com/office/drawing/2014/main" id="{4A4DF583-F789-A147-928A-81BDEA644EAF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24" name="Rectángulo 23">
              <a:extLst>
                <a:ext uri="{FF2B5EF4-FFF2-40B4-BE49-F238E27FC236}">
                  <a16:creationId xmlns:a16="http://schemas.microsoft.com/office/drawing/2014/main" id="{BD340412-0579-1344-9B6D-DEF4DEE4960D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25" name="Rectángulo 24">
              <a:extLst>
                <a:ext uri="{FF2B5EF4-FFF2-40B4-BE49-F238E27FC236}">
                  <a16:creationId xmlns:a16="http://schemas.microsoft.com/office/drawing/2014/main" id="{44E55E4B-0109-E64B-A511-0CD7799B8CF6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</p:spTree>
    <p:extLst>
      <p:ext uri="{BB962C8B-B14F-4D97-AF65-F5344CB8AC3E}">
        <p14:creationId xmlns:p14="http://schemas.microsoft.com/office/powerpoint/2010/main" val="167653625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Morad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3252540"/>
              </p:ext>
            </p:ext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3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/>
              <a:ea typeface="+mj-ea"/>
              <a:cs typeface="+mj-cs"/>
              <a:sym typeface="Playfair Display" panose="0000050000000000000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6001" y="6505495"/>
            <a:ext cx="859201" cy="170476"/>
          </a:xfrm>
          <a:prstGeom prst="rect">
            <a:avLst/>
          </a:prstGeom>
        </p:spPr>
      </p:pic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70" y="7164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8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#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8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51213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anj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3716723"/>
              </p:ext>
            </p:ext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10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#›</a:t>
            </a:fld>
            <a:endParaRPr lang="es-ES" sz="1066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58599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anj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4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#›</a:t>
            </a:fld>
            <a:endParaRPr lang="es-ES" sz="1066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550542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arillo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7738736"/>
              </p:ext>
            </p:ext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999" y="649095"/>
            <a:ext cx="11521567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1" y="357000"/>
            <a:ext cx="11521566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17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#›</a:t>
            </a:fld>
            <a:endParaRPr lang="es-ES" sz="1066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16297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arillo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20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11" name="Objeto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999" y="649095"/>
            <a:ext cx="11521567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1" y="357000"/>
            <a:ext cx="11521566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17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#›</a:t>
            </a:fld>
            <a:endParaRPr lang="es-ES" sz="1066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646175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9088129"/>
              </p:ext>
            </p:ext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3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#›</a:t>
            </a:fld>
            <a:endParaRPr lang="es-ES" sz="1066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392030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9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#›</a:t>
            </a:fld>
            <a:endParaRPr lang="es-ES" sz="1066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778615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de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9375130"/>
              </p:ext>
            </p:ext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58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#›</a:t>
            </a:fld>
            <a:endParaRPr lang="es-ES" sz="1066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11187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de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81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#›</a:t>
            </a:fld>
            <a:endParaRPr lang="es-ES" sz="1066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632129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ul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9400719"/>
              </p:ext>
            </p:ext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8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#›</a:t>
            </a:fld>
            <a:endParaRPr lang="es-ES" sz="1066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2381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ic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336000" y="645587"/>
            <a:ext cx="11017800" cy="863601"/>
          </a:xfrm>
          <a:prstGeom prst="rect">
            <a:avLst/>
          </a:prstGeom>
        </p:spPr>
        <p:txBody>
          <a:bodyPr lIns="0" tIns="0" rIns="0" bIns="0"/>
          <a:lstStyle>
            <a:lvl1pPr>
              <a:defRPr sz="2798"/>
            </a:lvl1pPr>
          </a:lstStyle>
          <a:p>
            <a:r>
              <a:rPr lang="es-ES" dirty="0"/>
              <a:t>Índice</a:t>
            </a:r>
          </a:p>
        </p:txBody>
      </p:sp>
      <p:sp>
        <p:nvSpPr>
          <p:cNvPr id="4" name="Forma libre 3">
            <a:extLst>
              <a:ext uri="{FF2B5EF4-FFF2-40B4-BE49-F238E27FC236}">
                <a16:creationId xmlns:a16="http://schemas.microsoft.com/office/drawing/2014/main" id="{F6C55DCE-A9B0-2243-80CD-2F30EC5EF5A4}"/>
              </a:ext>
            </a:extLst>
          </p:cNvPr>
          <p:cNvSpPr/>
          <p:nvPr userDrawn="1"/>
        </p:nvSpPr>
        <p:spPr>
          <a:xfrm>
            <a:off x="4328250" y="2232949"/>
            <a:ext cx="7939453" cy="4757592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1004426 w 3575725"/>
              <a:gd name="connsiteY4" fmla="*/ 3134611 h 3139345"/>
              <a:gd name="connsiteX5" fmla="*/ 0 w 3575725"/>
              <a:gd name="connsiteY5" fmla="*/ 2126285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2606583 w 3575725"/>
              <a:gd name="connsiteY4" fmla="*/ 2141725 h 3139345"/>
              <a:gd name="connsiteX5" fmla="*/ 0 w 3575725"/>
              <a:gd name="connsiteY5" fmla="*/ 2126285 h 3139345"/>
              <a:gd name="connsiteX0" fmla="*/ 0 w 3575725"/>
              <a:gd name="connsiteY0" fmla="*/ 2126285 h 2142697"/>
              <a:gd name="connsiteX1" fmla="*/ 1945 w 3575725"/>
              <a:gd name="connsiteY1" fmla="*/ 1021080 h 2142697"/>
              <a:gd name="connsiteX2" fmla="*/ 3575725 w 3575725"/>
              <a:gd name="connsiteY2" fmla="*/ 0 h 2142697"/>
              <a:gd name="connsiteX3" fmla="*/ 3574752 w 3575725"/>
              <a:gd name="connsiteY3" fmla="*/ 2142697 h 2142697"/>
              <a:gd name="connsiteX4" fmla="*/ 2606583 w 3575725"/>
              <a:gd name="connsiteY4" fmla="*/ 2141725 h 2142697"/>
              <a:gd name="connsiteX5" fmla="*/ 0 w 3575725"/>
              <a:gd name="connsiteY5" fmla="*/ 2126285 h 214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725" h="2142697">
                <a:moveTo>
                  <a:pt x="0" y="2126285"/>
                </a:moveTo>
                <a:cubicBezTo>
                  <a:pt x="3156" y="1423160"/>
                  <a:pt x="-1211" y="1724205"/>
                  <a:pt x="1945" y="1021080"/>
                </a:cubicBezTo>
                <a:lnTo>
                  <a:pt x="3575725" y="0"/>
                </a:lnTo>
                <a:cubicBezTo>
                  <a:pt x="3575401" y="714232"/>
                  <a:pt x="3575076" y="1428465"/>
                  <a:pt x="3574752" y="2142697"/>
                </a:cubicBezTo>
                <a:lnTo>
                  <a:pt x="2606583" y="2141725"/>
                </a:lnTo>
                <a:lnTo>
                  <a:pt x="0" y="212628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00D88BD8-9E72-844D-A3E4-A145CC1FC878}"/>
              </a:ext>
            </a:extLst>
          </p:cNvPr>
          <p:cNvSpPr/>
          <p:nvPr userDrawn="1"/>
        </p:nvSpPr>
        <p:spPr>
          <a:xfrm>
            <a:off x="2796363" y="894269"/>
            <a:ext cx="7956155" cy="6096272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2736231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448410 w 3583247"/>
              <a:gd name="connsiteY4" fmla="*/ 2740388 h 3139345"/>
              <a:gd name="connsiteX5" fmla="*/ 0 w 3583247"/>
              <a:gd name="connsiteY5" fmla="*/ 2736231 h 3139345"/>
              <a:gd name="connsiteX0" fmla="*/ 0 w 3583247"/>
              <a:gd name="connsiteY0" fmla="*/ 2736231 h 2740388"/>
              <a:gd name="connsiteX1" fmla="*/ 9467 w 3583247"/>
              <a:gd name="connsiteY1" fmla="*/ 1021080 h 2740388"/>
              <a:gd name="connsiteX2" fmla="*/ 3583247 w 3583247"/>
              <a:gd name="connsiteY2" fmla="*/ 0 h 2740388"/>
              <a:gd name="connsiteX3" fmla="*/ 3557394 w 3583247"/>
              <a:gd name="connsiteY3" fmla="*/ 2738082 h 2740388"/>
              <a:gd name="connsiteX4" fmla="*/ 1448410 w 3583247"/>
              <a:gd name="connsiteY4" fmla="*/ 2740388 h 2740388"/>
              <a:gd name="connsiteX5" fmla="*/ 0 w 3583247"/>
              <a:gd name="connsiteY5" fmla="*/ 2736231 h 2740388"/>
              <a:gd name="connsiteX0" fmla="*/ 0 w 3583247"/>
              <a:gd name="connsiteY0" fmla="*/ 2736231 h 2745604"/>
              <a:gd name="connsiteX1" fmla="*/ 9467 w 3583247"/>
              <a:gd name="connsiteY1" fmla="*/ 1021080 h 2745604"/>
              <a:gd name="connsiteX2" fmla="*/ 3583247 w 3583247"/>
              <a:gd name="connsiteY2" fmla="*/ 0 h 2745604"/>
              <a:gd name="connsiteX3" fmla="*/ 3579960 w 3583247"/>
              <a:gd name="connsiteY3" fmla="*/ 2745604 h 2745604"/>
              <a:gd name="connsiteX4" fmla="*/ 1448410 w 3583247"/>
              <a:gd name="connsiteY4" fmla="*/ 2740388 h 2745604"/>
              <a:gd name="connsiteX5" fmla="*/ 0 w 3583247"/>
              <a:gd name="connsiteY5" fmla="*/ 2736231 h 274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2745604">
                <a:moveTo>
                  <a:pt x="0" y="2736231"/>
                </a:moveTo>
                <a:cubicBezTo>
                  <a:pt x="3156" y="2033106"/>
                  <a:pt x="6311" y="1724205"/>
                  <a:pt x="9467" y="1021080"/>
                </a:cubicBezTo>
                <a:lnTo>
                  <a:pt x="3583247" y="0"/>
                </a:lnTo>
                <a:cubicBezTo>
                  <a:pt x="3582151" y="915201"/>
                  <a:pt x="3581056" y="1830403"/>
                  <a:pt x="3579960" y="2745604"/>
                </a:cubicBezTo>
                <a:lnTo>
                  <a:pt x="1448410" y="2740388"/>
                </a:lnTo>
                <a:lnTo>
                  <a:pt x="0" y="273623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6" name="Forma libre 5">
            <a:extLst>
              <a:ext uri="{FF2B5EF4-FFF2-40B4-BE49-F238E27FC236}">
                <a16:creationId xmlns:a16="http://schemas.microsoft.com/office/drawing/2014/main" id="{95D2642E-B667-424F-952B-3431D2440BB5}"/>
              </a:ext>
            </a:extLst>
          </p:cNvPr>
          <p:cNvSpPr/>
          <p:nvPr userDrawn="1"/>
        </p:nvSpPr>
        <p:spPr>
          <a:xfrm>
            <a:off x="-92286" y="20016"/>
            <a:ext cx="8259460" cy="6970525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3139345">
                <a:moveTo>
                  <a:pt x="0" y="3130454"/>
                </a:moveTo>
                <a:cubicBezTo>
                  <a:pt x="3156" y="2427329"/>
                  <a:pt x="6311" y="1724205"/>
                  <a:pt x="9467" y="1021080"/>
                </a:cubicBezTo>
                <a:lnTo>
                  <a:pt x="3583247" y="0"/>
                </a:lnTo>
                <a:lnTo>
                  <a:pt x="3578513" y="3139345"/>
                </a:lnTo>
                <a:lnTo>
                  <a:pt x="1011948" y="3134611"/>
                </a:lnTo>
                <a:lnTo>
                  <a:pt x="0" y="31304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#›</a:t>
            </a:fld>
            <a:endParaRPr lang="es-ES" sz="1066" dirty="0">
              <a:solidFill>
                <a:schemeClr val="bg1"/>
              </a:solidFill>
            </a:endParaRPr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3" name="Marcador de texto 2"/>
          <p:cNvSpPr>
            <a:spLocks noGrp="1"/>
          </p:cNvSpPr>
          <p:nvPr>
            <p:ph type="body" sz="quarter" idx="10" hasCustomPrompt="1"/>
          </p:nvPr>
        </p:nvSpPr>
        <p:spPr>
          <a:xfrm>
            <a:off x="336000" y="2444755"/>
            <a:ext cx="5760000" cy="35771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Capí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</p:spTree>
    <p:extLst>
      <p:ext uri="{BB962C8B-B14F-4D97-AF65-F5344CB8AC3E}">
        <p14:creationId xmlns:p14="http://schemas.microsoft.com/office/powerpoint/2010/main" val="28751113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ul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40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#›</a:t>
            </a:fld>
            <a:endParaRPr lang="es-ES" sz="1066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714537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l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2892558"/>
              </p:ext>
            </p:ext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97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#›</a:t>
            </a:fld>
            <a:endParaRPr lang="es-ES" sz="1066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102599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l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6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#›</a:t>
            </a:fld>
            <a:endParaRPr lang="es-ES" sz="1066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692245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 n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3488895"/>
              </p:ext>
            </p:ext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69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1229914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659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7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1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667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67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54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89"/>
            <a:ext cx="1871531" cy="642611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9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9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8887255" y="6540533"/>
            <a:ext cx="1145183" cy="24884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s-ES" sz="2399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</a:rPr>
              <a:pPr algn="r"/>
              <a:t>‹#›</a:t>
            </a:fld>
            <a:endParaRPr lang="es-ES" sz="1067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78232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837" y="712437"/>
            <a:ext cx="7553833" cy="71458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5330" b="0" i="0">
                <a:solidFill>
                  <a:schemeClr val="tx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Gracias!</a:t>
            </a:r>
            <a:endParaRPr lang="en-US" dirty="0"/>
          </a:p>
        </p:txBody>
      </p:sp>
      <p:sp>
        <p:nvSpPr>
          <p:cNvPr id="3" name="Rectángulo 3">
            <a:extLst>
              <a:ext uri="{FF2B5EF4-FFF2-40B4-BE49-F238E27FC236}">
                <a16:creationId xmlns:a16="http://schemas.microsoft.com/office/drawing/2014/main" id="{A1E39811-A34B-AD46-8ACC-A06DB4D267D0}"/>
              </a:ext>
            </a:extLst>
          </p:cNvPr>
          <p:cNvSpPr/>
          <p:nvPr userDrawn="1"/>
        </p:nvSpPr>
        <p:spPr>
          <a:xfrm>
            <a:off x="7744691" y="3699164"/>
            <a:ext cx="2575779" cy="3810000"/>
          </a:xfrm>
          <a:custGeom>
            <a:avLst/>
            <a:gdLst>
              <a:gd name="connsiteX0" fmla="*/ 0 w 1569027"/>
              <a:gd name="connsiteY0" fmla="*/ 0 h 2857500"/>
              <a:gd name="connsiteX1" fmla="*/ 1569027 w 1569027"/>
              <a:gd name="connsiteY1" fmla="*/ 0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569027"/>
              <a:gd name="connsiteY0" fmla="*/ 0 h 2857500"/>
              <a:gd name="connsiteX1" fmla="*/ 1558636 w 1569027"/>
              <a:gd name="connsiteY1" fmla="*/ 467591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610767"/>
              <a:gd name="connsiteY0" fmla="*/ 0 h 2857500"/>
              <a:gd name="connsiteX1" fmla="*/ 1610590 w 1610767"/>
              <a:gd name="connsiteY1" fmla="*/ 477982 h 2857500"/>
              <a:gd name="connsiteX2" fmla="*/ 1569027 w 1610767"/>
              <a:gd name="connsiteY2" fmla="*/ 2857500 h 2857500"/>
              <a:gd name="connsiteX3" fmla="*/ 0 w 1610767"/>
              <a:gd name="connsiteY3" fmla="*/ 2857500 h 2857500"/>
              <a:gd name="connsiteX4" fmla="*/ 0 w 1610767"/>
              <a:gd name="connsiteY4" fmla="*/ 0 h 285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0767" h="2857500">
                <a:moveTo>
                  <a:pt x="0" y="0"/>
                </a:moveTo>
                <a:lnTo>
                  <a:pt x="1610590" y="477982"/>
                </a:lnTo>
                <a:cubicBezTo>
                  <a:pt x="1614054" y="1274618"/>
                  <a:pt x="1565563" y="2060864"/>
                  <a:pt x="1569027" y="2857500"/>
                </a:cubicBezTo>
                <a:lnTo>
                  <a:pt x="0" y="285750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4" name="Rectángulo 4">
            <a:extLst>
              <a:ext uri="{FF2B5EF4-FFF2-40B4-BE49-F238E27FC236}">
                <a16:creationId xmlns:a16="http://schemas.microsoft.com/office/drawing/2014/main" id="{A3F9223B-685F-2843-9227-57F23C3FCEB4}"/>
              </a:ext>
            </a:extLst>
          </p:cNvPr>
          <p:cNvSpPr/>
          <p:nvPr userDrawn="1"/>
        </p:nvSpPr>
        <p:spPr>
          <a:xfrm>
            <a:off x="10128451" y="2715495"/>
            <a:ext cx="1010606" cy="4793673"/>
          </a:xfrm>
          <a:custGeom>
            <a:avLst/>
            <a:gdLst>
              <a:gd name="connsiteX0" fmla="*/ 0 w 985405"/>
              <a:gd name="connsiteY0" fmla="*/ 0 h 3595255"/>
              <a:gd name="connsiteX1" fmla="*/ 985405 w 985405"/>
              <a:gd name="connsiteY1" fmla="*/ 0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  <a:gd name="connsiteX0" fmla="*/ 0 w 985405"/>
              <a:gd name="connsiteY0" fmla="*/ 0 h 3595255"/>
              <a:gd name="connsiteX1" fmla="*/ 985405 w 985405"/>
              <a:gd name="connsiteY1" fmla="*/ 259773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5405" h="3595255">
                <a:moveTo>
                  <a:pt x="0" y="0"/>
                </a:moveTo>
                <a:lnTo>
                  <a:pt x="985405" y="259773"/>
                </a:lnTo>
                <a:lnTo>
                  <a:pt x="985405" y="3595255"/>
                </a:lnTo>
                <a:lnTo>
                  <a:pt x="0" y="359525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5" name="Rectángulo 8">
            <a:extLst>
              <a:ext uri="{FF2B5EF4-FFF2-40B4-BE49-F238E27FC236}">
                <a16:creationId xmlns:a16="http://schemas.microsoft.com/office/drawing/2014/main" id="{3E974AAD-8F9B-2E42-A5FB-13D764EAA100}"/>
              </a:ext>
            </a:extLst>
          </p:cNvPr>
          <p:cNvSpPr/>
          <p:nvPr userDrawn="1"/>
        </p:nvSpPr>
        <p:spPr>
          <a:xfrm>
            <a:off x="10992544" y="1288475"/>
            <a:ext cx="1383028" cy="6220692"/>
          </a:xfrm>
          <a:custGeom>
            <a:avLst/>
            <a:gdLst>
              <a:gd name="connsiteX0" fmla="*/ 0 w 1289338"/>
              <a:gd name="connsiteY0" fmla="*/ 0 h 4665519"/>
              <a:gd name="connsiteX1" fmla="*/ 1289338 w 1289338"/>
              <a:gd name="connsiteY1" fmla="*/ 0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  <a:gd name="connsiteX0" fmla="*/ 0 w 1289338"/>
              <a:gd name="connsiteY0" fmla="*/ 0 h 4665519"/>
              <a:gd name="connsiteX1" fmla="*/ 1278947 w 1289338"/>
              <a:gd name="connsiteY1" fmla="*/ 394854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9338" h="4665519">
                <a:moveTo>
                  <a:pt x="0" y="0"/>
                </a:moveTo>
                <a:lnTo>
                  <a:pt x="1278947" y="394854"/>
                </a:lnTo>
                <a:cubicBezTo>
                  <a:pt x="1282411" y="1818409"/>
                  <a:pt x="1285874" y="3241964"/>
                  <a:pt x="1289338" y="4665519"/>
                </a:cubicBezTo>
                <a:lnTo>
                  <a:pt x="0" y="46655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pic>
        <p:nvPicPr>
          <p:cNvPr id="6" name="Imagen 5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</p:spTree>
    <p:extLst>
      <p:ext uri="{BB962C8B-B14F-4D97-AF65-F5344CB8AC3E}">
        <p14:creationId xmlns:p14="http://schemas.microsoft.com/office/powerpoint/2010/main" val="31811319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1592921"/>
            <a:ext cx="6951931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1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#›</a:t>
            </a:fld>
            <a:endParaRPr lang="es-ES" sz="1066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5B101F9E-64AF-FC48-B2A1-F70779554AB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9348611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2" y="1592921"/>
            <a:ext cx="693807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1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#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id="{78611A90-5661-7849-85C4-60F38E37590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6569993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5" y="1592921"/>
            <a:ext cx="705260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1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#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id="{57625A35-6F69-D543-BA04-C64550EF3B0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8350045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parata n1. 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5" y="1592921"/>
            <a:ext cx="705260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1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#›</a:t>
            </a:fld>
            <a:endParaRPr lang="es-ES" sz="1066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26E4C2C5-0D36-E34C-9E34-75AB96E1F27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5282007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6787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98" r:id="rId4"/>
    <p:sldLayoutId id="2147483771" r:id="rId5"/>
    <p:sldLayoutId id="2147483748" r:id="rId6"/>
    <p:sldLayoutId id="2147483749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40" r:id="rId13"/>
    <p:sldLayoutId id="2147483751" r:id="rId14"/>
    <p:sldLayoutId id="2147483752" r:id="rId15"/>
    <p:sldLayoutId id="2147483753" r:id="rId16"/>
    <p:sldLayoutId id="2147483754" r:id="rId17"/>
    <p:sldLayoutId id="2147483755" r:id="rId18"/>
    <p:sldLayoutId id="2147483756" r:id="rId19"/>
    <p:sldLayoutId id="2147483757" r:id="rId20"/>
    <p:sldLayoutId id="2147483758" r:id="rId21"/>
    <p:sldLayoutId id="2147483746" r:id="rId22"/>
    <p:sldLayoutId id="2147483760" r:id="rId23"/>
    <p:sldLayoutId id="2147483761" r:id="rId24"/>
    <p:sldLayoutId id="2147483762" r:id="rId25"/>
    <p:sldLayoutId id="2147483763" r:id="rId26"/>
    <p:sldLayoutId id="2147483764" r:id="rId27"/>
    <p:sldLayoutId id="2147483765" r:id="rId28"/>
    <p:sldLayoutId id="2147483766" r:id="rId29"/>
    <p:sldLayoutId id="2147483767" r:id="rId30"/>
    <p:sldLayoutId id="2147483678" r:id="rId31"/>
    <p:sldLayoutId id="2147483790" r:id="rId32"/>
    <p:sldLayoutId id="2147483669" r:id="rId33"/>
    <p:sldLayoutId id="2147483789" r:id="rId34"/>
    <p:sldLayoutId id="2147483685" r:id="rId35"/>
    <p:sldLayoutId id="2147483792" r:id="rId36"/>
    <p:sldLayoutId id="2147483693" r:id="rId37"/>
    <p:sldLayoutId id="2147483793" r:id="rId38"/>
    <p:sldLayoutId id="2147483701" r:id="rId39"/>
    <p:sldLayoutId id="2147483794" r:id="rId40"/>
    <p:sldLayoutId id="2147483785" r:id="rId41"/>
    <p:sldLayoutId id="2147483795" r:id="rId42"/>
    <p:sldLayoutId id="2147483788" r:id="rId43"/>
    <p:sldLayoutId id="2147483799" r:id="rId44"/>
  </p:sldLayoutIdLst>
  <p:hf hdr="0" ftr="0" dt="0"/>
  <p:txStyles>
    <p:titleStyle>
      <a:lvl1pPr algn="l" defTabSz="913897" rtl="0" eaLnBrk="1" latinLnBrk="0" hangingPunct="1">
        <a:lnSpc>
          <a:spcPct val="90000"/>
        </a:lnSpc>
        <a:spcBef>
          <a:spcPct val="0"/>
        </a:spcBef>
        <a:buNone/>
        <a:defRPr sz="4664" kern="1200">
          <a:solidFill>
            <a:schemeClr val="tx1"/>
          </a:solidFill>
          <a:latin typeface="Playfair Display" pitchFamily="2" charset="77"/>
          <a:ea typeface="+mj-ea"/>
          <a:cs typeface="+mj-cs"/>
        </a:defRPr>
      </a:lvl1pPr>
    </p:titleStyle>
    <p:bodyStyle>
      <a:lvl1pPr marL="228474" indent="-228474" algn="l" defTabSz="913897" rtl="0" eaLnBrk="1" latinLnBrk="0" hangingPunct="1">
        <a:lnSpc>
          <a:spcPct val="90000"/>
        </a:lnSpc>
        <a:spcBef>
          <a:spcPts val="999"/>
        </a:spcBef>
        <a:buFont typeface="Arial" panose="020B0604020202020204" pitchFamily="34" charset="0"/>
        <a:buChar char="•"/>
        <a:defRPr sz="1999" b="0" i="0" kern="1200">
          <a:solidFill>
            <a:schemeClr val="tx1"/>
          </a:solidFill>
          <a:latin typeface="Soho Gothic Pro Light" panose="020B0303030504020204" pitchFamily="34" charset="77"/>
          <a:ea typeface="+mn-ea"/>
          <a:cs typeface="+mn-cs"/>
        </a:defRPr>
      </a:lvl1pPr>
      <a:lvl2pPr marL="685423" indent="-228474" algn="l" defTabSz="91389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142371" indent="-228474" algn="l" defTabSz="91389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599320" indent="-228474" algn="l" defTabSz="91389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6268" indent="-228474" algn="l" defTabSz="91389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3217" indent="-228474" algn="l" defTabSz="91389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166" indent="-228474" algn="l" defTabSz="91389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114" indent="-228474" algn="l" defTabSz="91389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063" indent="-228474" algn="l" defTabSz="91389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49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897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846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794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743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691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640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588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orient="horz" pos="225" userDrawn="1">
          <p15:clr>
            <a:srgbClr val="F26B43"/>
          </p15:clr>
        </p15:guide>
        <p15:guide id="4" orient="horz" pos="4035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10" pos="7469" userDrawn="1">
          <p15:clr>
            <a:srgbClr val="F26B43"/>
          </p15:clr>
        </p15:guide>
        <p15:guide id="15" pos="212" userDrawn="1">
          <p15:clr>
            <a:srgbClr val="F26B43"/>
          </p15:clr>
        </p15:guide>
        <p15:guide id="17" orient="horz" pos="769" userDrawn="1">
          <p15:clr>
            <a:srgbClr val="F26B43"/>
          </p15:clr>
        </p15:guide>
        <p15:guide id="18" orient="horz" pos="361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33.xml"/><Relationship Id="rId7" Type="http://schemas.openxmlformats.org/officeDocument/2006/relationships/image" Target="../media/image9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emf"/><Relationship Id="rId11" Type="http://schemas.openxmlformats.org/officeDocument/2006/relationships/image" Target="../media/image13.emf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12.emf"/><Relationship Id="rId4" Type="http://schemas.openxmlformats.org/officeDocument/2006/relationships/slideLayout" Target="../slideLayouts/slideLayout44.xml"/><Relationship Id="rId9" Type="http://schemas.openxmlformats.org/officeDocument/2006/relationships/image" Target="../media/image1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16.tif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microsoft.com/office/2007/relationships/hdphoto" Target="../media/hdphoto1.wdp"/><Relationship Id="rId3" Type="http://schemas.openxmlformats.org/officeDocument/2006/relationships/tags" Target="../tags/tag35.xml"/><Relationship Id="rId7" Type="http://schemas.openxmlformats.org/officeDocument/2006/relationships/image" Target="../media/image18.png"/><Relationship Id="rId12" Type="http://schemas.openxmlformats.org/officeDocument/2006/relationships/image" Target="../media/image22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emf"/><Relationship Id="rId11" Type="http://schemas.openxmlformats.org/officeDocument/2006/relationships/image" Target="../media/image21.png"/><Relationship Id="rId5" Type="http://schemas.openxmlformats.org/officeDocument/2006/relationships/oleObject" Target="../embeddings/oleObject17.bin"/><Relationship Id="rId10" Type="http://schemas.openxmlformats.org/officeDocument/2006/relationships/hyperlink" Target="mailto:jsantosa@minsait.com" TargetMode="External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4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Imagen 26">
            <a:extLst>
              <a:ext uri="{FF2B5EF4-FFF2-40B4-BE49-F238E27FC236}">
                <a16:creationId xmlns:a16="http://schemas.microsoft.com/office/drawing/2014/main" id="{47308D0D-EB6E-E049-AADC-1CFC1232217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00944" y="-1827584"/>
            <a:ext cx="14688819" cy="8640960"/>
          </a:xfrm>
          <a:prstGeom prst="rect">
            <a:avLst/>
          </a:prstGeom>
        </p:spPr>
      </p:pic>
      <p:sp>
        <p:nvSpPr>
          <p:cNvPr id="11" name="Marcador de contenido 10">
            <a:extLst>
              <a:ext uri="{FF2B5EF4-FFF2-40B4-BE49-F238E27FC236}">
                <a16:creationId xmlns:a16="http://schemas.microsoft.com/office/drawing/2014/main" id="{CADB838D-94AC-C545-9C3D-3E09738A375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36001" y="3426624"/>
            <a:ext cx="5651500" cy="290408"/>
          </a:xfrm>
        </p:spPr>
        <p:txBody>
          <a:bodyPr>
            <a:normAutofit fontScale="25000" lnSpcReduction="20000"/>
          </a:bodyPr>
          <a:lstStyle/>
          <a:p>
            <a:r>
              <a:rPr lang="es-ES" dirty="0"/>
              <a:t>Presentación y propuesta de valor</a:t>
            </a:r>
          </a:p>
          <a:p>
            <a:endParaRPr lang="es-ES" sz="1467" dirty="0"/>
          </a:p>
          <a:p>
            <a:r>
              <a:rPr lang="es-ES" sz="1467" dirty="0"/>
              <a:t>Junio 2019</a:t>
            </a:r>
          </a:p>
        </p:txBody>
      </p:sp>
      <p:sp>
        <p:nvSpPr>
          <p:cNvPr id="29" name="Forma libre 28">
            <a:extLst>
              <a:ext uri="{FF2B5EF4-FFF2-40B4-BE49-F238E27FC236}">
                <a16:creationId xmlns:a16="http://schemas.microsoft.com/office/drawing/2014/main" id="{6961B739-42D0-484D-8B86-C34D5FC3AF7E}"/>
              </a:ext>
            </a:extLst>
          </p:cNvPr>
          <p:cNvSpPr/>
          <p:nvPr/>
        </p:nvSpPr>
        <p:spPr>
          <a:xfrm rot="10800000" flipH="1">
            <a:off x="6461441" y="-4797232"/>
            <a:ext cx="6684900" cy="959446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30" name="Forma libre 29">
            <a:extLst>
              <a:ext uri="{FF2B5EF4-FFF2-40B4-BE49-F238E27FC236}">
                <a16:creationId xmlns:a16="http://schemas.microsoft.com/office/drawing/2014/main" id="{715D7876-9BD1-534F-BFE4-B2BC459315DD}"/>
              </a:ext>
            </a:extLst>
          </p:cNvPr>
          <p:cNvSpPr/>
          <p:nvPr/>
        </p:nvSpPr>
        <p:spPr>
          <a:xfrm rot="10800000" flipH="1">
            <a:off x="5753859" y="-5328968"/>
            <a:ext cx="6684900" cy="959446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31" name="Forma libre 30">
            <a:extLst>
              <a:ext uri="{FF2B5EF4-FFF2-40B4-BE49-F238E27FC236}">
                <a16:creationId xmlns:a16="http://schemas.microsoft.com/office/drawing/2014/main" id="{54EF004F-E5A2-CD44-BBED-3B706C8EAFAA}"/>
              </a:ext>
            </a:extLst>
          </p:cNvPr>
          <p:cNvSpPr/>
          <p:nvPr/>
        </p:nvSpPr>
        <p:spPr>
          <a:xfrm rot="10800000" flipH="1">
            <a:off x="4588684" y="-10521205"/>
            <a:ext cx="10177131" cy="1460666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32" name="Título 9">
            <a:extLst>
              <a:ext uri="{FF2B5EF4-FFF2-40B4-BE49-F238E27FC236}">
                <a16:creationId xmlns:a16="http://schemas.microsoft.com/office/drawing/2014/main" id="{7D0F4E9E-D4B3-B547-A9DC-4D8880C9F4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267" y="1196752"/>
            <a:ext cx="8942086" cy="1648341"/>
          </a:xfrm>
        </p:spPr>
        <p:txBody>
          <a:bodyPr/>
          <a:lstStyle/>
          <a:p>
            <a:r>
              <a:rPr lang="es-ES" dirty="0"/>
              <a:t>Los tres pilares de la </a:t>
            </a:r>
            <a:r>
              <a:rPr lang="es-ES" dirty="0" err="1"/>
              <a:t>Observabilidad</a:t>
            </a:r>
            <a:br>
              <a:rPr lang="es-ES" dirty="0"/>
            </a:br>
            <a:endParaRPr lang="es-ES" dirty="0"/>
          </a:p>
        </p:txBody>
      </p:sp>
      <p:sp>
        <p:nvSpPr>
          <p:cNvPr id="8" name="Título 9">
            <a:extLst>
              <a:ext uri="{FF2B5EF4-FFF2-40B4-BE49-F238E27FC236}">
                <a16:creationId xmlns:a16="http://schemas.microsoft.com/office/drawing/2014/main" id="{8B566AD3-0617-AB42-8228-06F1ACFD0FA7}"/>
              </a:ext>
            </a:extLst>
          </p:cNvPr>
          <p:cNvSpPr txBox="1">
            <a:spLocks/>
          </p:cNvSpPr>
          <p:nvPr/>
        </p:nvSpPr>
        <p:spPr>
          <a:xfrm>
            <a:off x="322266" y="2602453"/>
            <a:ext cx="5845742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389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Playfair Display" pitchFamily="2" charset="77"/>
                <a:ea typeface="+mj-ea"/>
                <a:cs typeface="+mj-cs"/>
              </a:defRPr>
            </a:lvl1pPr>
          </a:lstStyle>
          <a:p>
            <a:r>
              <a:rPr lang="es-ES" sz="1867" dirty="0"/>
              <a:t>La </a:t>
            </a:r>
            <a:r>
              <a:rPr lang="es-ES" sz="1867" dirty="0" err="1"/>
              <a:t>observabilidad</a:t>
            </a:r>
            <a:r>
              <a:rPr lang="es-ES" sz="1867" dirty="0"/>
              <a:t> se divide en tres verticales principales: métricas, registros y trazas distribuidas, los llamados "tres pilares de la </a:t>
            </a:r>
            <a:r>
              <a:rPr lang="es-ES" sz="1867" dirty="0" err="1"/>
              <a:t>observabilidad</a:t>
            </a:r>
            <a:r>
              <a:rPr lang="es-ES" sz="1867" dirty="0"/>
              <a:t>".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7755274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13" y="1463095"/>
            <a:ext cx="7686988" cy="4249716"/>
          </a:xfrm>
          <a:prstGeom prst="rect">
            <a:avLst/>
          </a:prstGeom>
        </p:spPr>
      </p:pic>
      <p:sp>
        <p:nvSpPr>
          <p:cNvPr id="5" name="Rectángulo 4"/>
          <p:cNvSpPr/>
          <p:nvPr/>
        </p:nvSpPr>
        <p:spPr>
          <a:xfrm>
            <a:off x="7536161" y="1438048"/>
            <a:ext cx="3862583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3200" b="1" dirty="0">
                <a:latin typeface="Neo Sans" panose="020B0504020202020204" pitchFamily="34" charset="0"/>
              </a:rPr>
              <a:t>Tecnologías Avanzadas</a:t>
            </a:r>
          </a:p>
        </p:txBody>
      </p:sp>
      <p:sp>
        <p:nvSpPr>
          <p:cNvPr id="6" name="Rectángulo 5"/>
          <p:cNvSpPr/>
          <p:nvPr/>
        </p:nvSpPr>
        <p:spPr>
          <a:xfrm>
            <a:off x="8323661" y="3095509"/>
            <a:ext cx="3457393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s-ES" sz="1400" dirty="0"/>
              <a:t>Experiencia Digital</a:t>
            </a:r>
          </a:p>
          <a:p>
            <a:pPr>
              <a:lnSpc>
                <a:spcPct val="150000"/>
              </a:lnSpc>
            </a:pPr>
            <a:r>
              <a:rPr lang="es-ES" sz="1400" dirty="0"/>
              <a:t>CRM y Canales</a:t>
            </a:r>
          </a:p>
          <a:p>
            <a:pPr>
              <a:lnSpc>
                <a:spcPct val="150000"/>
              </a:lnSpc>
            </a:pPr>
            <a:r>
              <a:rPr lang="es-ES" sz="1400" dirty="0"/>
              <a:t>Data </a:t>
            </a:r>
            <a:r>
              <a:rPr lang="es-ES" sz="1400" dirty="0" err="1"/>
              <a:t>Science</a:t>
            </a:r>
            <a:r>
              <a:rPr lang="es-ES" sz="1400" dirty="0"/>
              <a:t> &amp; AI</a:t>
            </a:r>
          </a:p>
          <a:p>
            <a:pPr>
              <a:lnSpc>
                <a:spcPct val="150000"/>
              </a:lnSpc>
            </a:pPr>
            <a:r>
              <a:rPr lang="es-ES" sz="1400" dirty="0"/>
              <a:t>Tecnología del Dato</a:t>
            </a:r>
          </a:p>
          <a:p>
            <a:pPr>
              <a:lnSpc>
                <a:spcPct val="150000"/>
              </a:lnSpc>
            </a:pPr>
            <a:r>
              <a:rPr lang="es-ES" sz="1400" dirty="0"/>
              <a:t>Operaciones Digitales</a:t>
            </a:r>
          </a:p>
          <a:p>
            <a:pPr>
              <a:lnSpc>
                <a:spcPct val="150000"/>
              </a:lnSpc>
            </a:pPr>
            <a:r>
              <a:rPr lang="es-ES" sz="1400" b="1" u="sng" dirty="0"/>
              <a:t>Arquitectura</a:t>
            </a:r>
          </a:p>
          <a:p>
            <a:pPr>
              <a:lnSpc>
                <a:spcPct val="150000"/>
              </a:lnSpc>
            </a:pPr>
            <a:r>
              <a:rPr lang="es-ES" sz="1400" dirty="0"/>
              <a:t>Tecnologías Emergentes</a:t>
            </a:r>
          </a:p>
          <a:p>
            <a:pPr>
              <a:lnSpc>
                <a:spcPct val="150000"/>
              </a:lnSpc>
            </a:pPr>
            <a:endParaRPr lang="es-ES" sz="1400" dirty="0"/>
          </a:p>
        </p:txBody>
      </p:sp>
      <p:sp>
        <p:nvSpPr>
          <p:cNvPr id="13" name="Forma libre 12"/>
          <p:cNvSpPr/>
          <p:nvPr/>
        </p:nvSpPr>
        <p:spPr>
          <a:xfrm rot="5400000" flipH="1" flipV="1">
            <a:off x="3656080" y="2528399"/>
            <a:ext cx="6851552" cy="2124028"/>
          </a:xfrm>
          <a:custGeom>
            <a:avLst/>
            <a:gdLst>
              <a:gd name="connsiteX0" fmla="*/ 6877993 w 6877993"/>
              <a:gd name="connsiteY0" fmla="*/ 2132225 h 2132225"/>
              <a:gd name="connsiteX1" fmla="*/ 6877993 w 6877993"/>
              <a:gd name="connsiteY1" fmla="*/ 695474 h 2132225"/>
              <a:gd name="connsiteX2" fmla="*/ 6877993 w 6877993"/>
              <a:gd name="connsiteY2" fmla="*/ 0 h 2132225"/>
              <a:gd name="connsiteX3" fmla="*/ 0 w 6877993"/>
              <a:gd name="connsiteY3" fmla="*/ 1965141 h 2132225"/>
              <a:gd name="connsiteX4" fmla="*/ 0 w 6877993"/>
              <a:gd name="connsiteY4" fmla="*/ 2132225 h 2132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77993" h="2132225">
                <a:moveTo>
                  <a:pt x="6877993" y="2132225"/>
                </a:moveTo>
                <a:lnTo>
                  <a:pt x="6877993" y="695474"/>
                </a:lnTo>
                <a:lnTo>
                  <a:pt x="6877993" y="0"/>
                </a:lnTo>
                <a:lnTo>
                  <a:pt x="0" y="1965141"/>
                </a:lnTo>
                <a:lnTo>
                  <a:pt x="0" y="213222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sz="1351" dirty="0">
              <a:latin typeface="Arial" panose="020B0604020202020204" pitchFamily="34" charset="0"/>
            </a:endParaRPr>
          </a:p>
        </p:txBody>
      </p:sp>
      <p:cxnSp>
        <p:nvCxnSpPr>
          <p:cNvPr id="10" name="Conector recto 9"/>
          <p:cNvCxnSpPr/>
          <p:nvPr/>
        </p:nvCxnSpPr>
        <p:spPr>
          <a:xfrm>
            <a:off x="8422200" y="2852936"/>
            <a:ext cx="698136" cy="0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7725604"/>
      </p:ext>
    </p:extLst>
  </p:cSld>
  <p:clrMapOvr>
    <a:masterClrMapping/>
  </p:clrMapOvr>
  <p:transition spd="slow"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rapecio 20"/>
          <p:cNvSpPr/>
          <p:nvPr/>
        </p:nvSpPr>
        <p:spPr>
          <a:xfrm rot="5400000">
            <a:off x="3216409" y="2757657"/>
            <a:ext cx="6048672" cy="3454921"/>
          </a:xfrm>
          <a:prstGeom prst="trapezoid">
            <a:avLst>
              <a:gd name="adj" fmla="val 27949"/>
            </a:avLst>
          </a:prstGeom>
          <a:solidFill>
            <a:schemeClr val="tx2"/>
          </a:solidFill>
          <a:ln w="698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96000" tIns="96000" rIns="96000" bIns="96000" rtlCol="0" anchor="ctr"/>
          <a:lstStyle/>
          <a:p>
            <a:pPr algn="ctr" defTabSz="914377">
              <a:defRPr/>
            </a:pPr>
            <a:endParaRPr lang="es-ES" sz="1800" dirty="0">
              <a:solidFill>
                <a:srgbClr val="1A3B47"/>
              </a:solidFill>
              <a:latin typeface="Soho Gothic Pro Light"/>
            </a:endParaRPr>
          </a:p>
        </p:txBody>
      </p:sp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68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14377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s-ES" sz="3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10" name="Trapecio 9"/>
          <p:cNvSpPr/>
          <p:nvPr/>
        </p:nvSpPr>
        <p:spPr>
          <a:xfrm rot="5400000">
            <a:off x="5440378" y="-250278"/>
            <a:ext cx="8528041" cy="4975203"/>
          </a:xfrm>
          <a:prstGeom prst="trapezoid">
            <a:avLst>
              <a:gd name="adj" fmla="val 27949"/>
            </a:avLst>
          </a:prstGeom>
          <a:solidFill>
            <a:schemeClr val="accent3">
              <a:lumMod val="20000"/>
              <a:lumOff val="80000"/>
            </a:schemeClr>
          </a:solidFill>
          <a:ln w="698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96000" tIns="96000" rIns="96000" bIns="96000" rtlCol="0" anchor="ctr"/>
          <a:lstStyle/>
          <a:p>
            <a:pPr algn="ctr" defTabSz="914377">
              <a:defRPr/>
            </a:pPr>
            <a:endParaRPr lang="es-ES" sz="1800" dirty="0">
              <a:solidFill>
                <a:srgbClr val="1A3B47"/>
              </a:solidFill>
              <a:latin typeface="Soho Gothic Pro Light"/>
            </a:endParaRPr>
          </a:p>
        </p:txBody>
      </p:sp>
      <p:sp>
        <p:nvSpPr>
          <p:cNvPr id="11" name="Trapecio 10"/>
          <p:cNvSpPr/>
          <p:nvPr/>
        </p:nvSpPr>
        <p:spPr>
          <a:xfrm rot="5400000">
            <a:off x="-1536248" y="2619953"/>
            <a:ext cx="8047693" cy="4975200"/>
          </a:xfrm>
          <a:prstGeom prst="trapezoid">
            <a:avLst>
              <a:gd name="adj" fmla="val 27949"/>
            </a:avLst>
          </a:prstGeom>
          <a:solidFill>
            <a:schemeClr val="bg2"/>
          </a:solidFill>
          <a:ln w="698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96000" tIns="96000" rIns="96000" bIns="96000" rtlCol="0" anchor="ctr"/>
          <a:lstStyle/>
          <a:p>
            <a:pPr algn="ctr" defTabSz="914377">
              <a:defRPr/>
            </a:pPr>
            <a:endParaRPr lang="es-ES" sz="1800" dirty="0">
              <a:solidFill>
                <a:srgbClr val="1A3B47"/>
              </a:solidFill>
              <a:latin typeface="Soho Gothic Pro Light"/>
            </a:endParaRPr>
          </a:p>
        </p:txBody>
      </p:sp>
      <p:grpSp>
        <p:nvGrpSpPr>
          <p:cNvPr id="5" name="Grupo 4"/>
          <p:cNvGrpSpPr/>
          <p:nvPr/>
        </p:nvGrpSpPr>
        <p:grpSpPr>
          <a:xfrm>
            <a:off x="1088091" y="2526558"/>
            <a:ext cx="4316709" cy="3858821"/>
            <a:chOff x="816068" y="1894918"/>
            <a:chExt cx="3237532" cy="2894116"/>
          </a:xfrm>
        </p:grpSpPr>
        <p:sp>
          <p:nvSpPr>
            <p:cNvPr id="7" name="CuadroTexto 6"/>
            <p:cNvSpPr txBox="1"/>
            <p:nvPr/>
          </p:nvSpPr>
          <p:spPr>
            <a:xfrm>
              <a:off x="816068" y="1894918"/>
              <a:ext cx="3237532" cy="1036872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/>
            <a:p>
              <a:pPr defTabSz="914377">
                <a:defRPr/>
              </a:pPr>
              <a:r>
                <a:rPr lang="es-ES" sz="2133" dirty="0">
                  <a:solidFill>
                    <a:srgbClr val="1A3B47"/>
                  </a:solidFill>
                  <a:latin typeface="Playfair Display" panose="00000500000000000000" pitchFamily="2" charset="0"/>
                </a:rPr>
                <a:t>IT Tradicional</a:t>
              </a:r>
            </a:p>
            <a:p>
              <a:pPr marL="243411" indent="-243411" defTabSz="914377">
                <a:spcBef>
                  <a:spcPts val="800"/>
                </a:spcBef>
                <a:buSzPct val="70000"/>
                <a:buFont typeface="Wingdings" pitchFamily="2" charset="2"/>
                <a:buChar char="§"/>
                <a:defRPr/>
              </a:pPr>
              <a:r>
                <a:rPr lang="es-ES" sz="1600" dirty="0">
                  <a:solidFill>
                    <a:srgbClr val="1A3B47"/>
                  </a:solidFill>
                </a:rPr>
                <a:t>IT como coste</a:t>
              </a:r>
            </a:p>
            <a:p>
              <a:pPr marL="243411" indent="-243411" defTabSz="914377">
                <a:spcBef>
                  <a:spcPts val="800"/>
                </a:spcBef>
                <a:buSzPct val="70000"/>
                <a:buFont typeface="Wingdings" pitchFamily="2" charset="2"/>
                <a:buChar char="§"/>
                <a:defRPr/>
              </a:pPr>
              <a:r>
                <a:rPr lang="es-ES" sz="1600" dirty="0">
                  <a:solidFill>
                    <a:srgbClr val="1A3B47"/>
                  </a:solidFill>
                </a:rPr>
                <a:t>Sistemas monolíticos</a:t>
              </a:r>
            </a:p>
            <a:p>
              <a:pPr marL="243411" indent="-243411" defTabSz="914377">
                <a:spcBef>
                  <a:spcPts val="800"/>
                </a:spcBef>
                <a:buSzPct val="70000"/>
                <a:buFont typeface="Wingdings" pitchFamily="2" charset="2"/>
                <a:buChar char="§"/>
                <a:defRPr/>
              </a:pPr>
              <a:r>
                <a:rPr lang="es-ES" sz="1600" dirty="0">
                  <a:solidFill>
                    <a:srgbClr val="1A3B47"/>
                  </a:solidFill>
                </a:rPr>
                <a:t>Core no escalable</a:t>
              </a:r>
            </a:p>
            <a:p>
              <a:pPr marL="243411" indent="-243411" defTabSz="914377">
                <a:spcBef>
                  <a:spcPts val="800"/>
                </a:spcBef>
                <a:buSzPct val="70000"/>
                <a:buFont typeface="Wingdings" pitchFamily="2" charset="2"/>
                <a:buChar char="§"/>
                <a:defRPr/>
              </a:pPr>
              <a:r>
                <a:rPr lang="es-ES" sz="1600" dirty="0">
                  <a:solidFill>
                    <a:srgbClr val="1A3B47"/>
                  </a:solidFill>
                </a:rPr>
                <a:t>Monitorización deficiente</a:t>
              </a:r>
            </a:p>
            <a:p>
              <a:pPr marL="243411" indent="-243411" defTabSz="914377">
                <a:spcBef>
                  <a:spcPts val="800"/>
                </a:spcBef>
                <a:buSzPct val="70000"/>
                <a:buFont typeface="Wingdings" pitchFamily="2" charset="2"/>
                <a:buChar char="§"/>
                <a:defRPr/>
              </a:pPr>
              <a:r>
                <a:rPr lang="es-ES" sz="1600" dirty="0">
                  <a:solidFill>
                    <a:srgbClr val="1A3B47"/>
                  </a:solidFill>
                </a:rPr>
                <a:t>Poco intercambio de información</a:t>
              </a:r>
            </a:p>
            <a:p>
              <a:pPr marL="243411" indent="-243411" defTabSz="914377">
                <a:spcBef>
                  <a:spcPts val="800"/>
                </a:spcBef>
                <a:buSzPct val="70000"/>
                <a:buFont typeface="Wingdings" pitchFamily="2" charset="2"/>
                <a:buChar char="§"/>
                <a:defRPr/>
              </a:pPr>
              <a:r>
                <a:rPr lang="es-ES" sz="1600" dirty="0">
                  <a:solidFill>
                    <a:srgbClr val="1A3B47"/>
                  </a:solidFill>
                </a:rPr>
                <a:t>Ciclos largos funcionalidad</a:t>
              </a:r>
            </a:p>
          </p:txBody>
        </p:sp>
        <p:pic>
          <p:nvPicPr>
            <p:cNvPr id="9" name="Imagen 8"/>
            <p:cNvPicPr>
              <a:picLocks noChangeAspect="1"/>
            </p:cNvPicPr>
            <p:nvPr/>
          </p:nvPicPr>
          <p:blipFill>
            <a:blip r:embed="rId7">
              <a:duotone>
                <a:prstClr val="black"/>
                <a:srgbClr val="1A3B47">
                  <a:tint val="45000"/>
                  <a:satMod val="400000"/>
                </a:srgbClr>
              </a:duotone>
            </a:blip>
            <a:stretch>
              <a:fillRect/>
            </a:stretch>
          </p:blipFill>
          <p:spPr>
            <a:xfrm>
              <a:off x="1372079" y="3939902"/>
              <a:ext cx="987240" cy="849132"/>
            </a:xfrm>
            <a:prstGeom prst="rect">
              <a:avLst/>
            </a:prstGeom>
          </p:spPr>
        </p:pic>
      </p:grpSp>
      <p:grpSp>
        <p:nvGrpSpPr>
          <p:cNvPr id="6" name="Grupo 5"/>
          <p:cNvGrpSpPr/>
          <p:nvPr/>
        </p:nvGrpSpPr>
        <p:grpSpPr>
          <a:xfrm>
            <a:off x="7651200" y="1225688"/>
            <a:ext cx="4159800" cy="3643473"/>
            <a:chOff x="5738400" y="199185"/>
            <a:chExt cx="3119850" cy="2732605"/>
          </a:xfrm>
        </p:grpSpPr>
        <p:sp>
          <p:nvSpPr>
            <p:cNvPr id="8" name="CuadroTexto 7"/>
            <p:cNvSpPr txBox="1"/>
            <p:nvPr/>
          </p:nvSpPr>
          <p:spPr>
            <a:xfrm>
              <a:off x="5738400" y="1347774"/>
              <a:ext cx="3119850" cy="1584016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/>
            <a:p>
              <a:pPr defTabSz="914377">
                <a:defRPr/>
              </a:pPr>
              <a:r>
                <a:rPr lang="es-ES" sz="2133" dirty="0">
                  <a:solidFill>
                    <a:srgbClr val="1A3B47"/>
                  </a:solidFill>
                  <a:latin typeface="Playfair Display" panose="00000500000000000000" pitchFamily="2" charset="0"/>
                </a:rPr>
                <a:t>NextGen IT</a:t>
              </a:r>
            </a:p>
            <a:p>
              <a:pPr marL="243411" indent="-243411" defTabSz="914377">
                <a:spcBef>
                  <a:spcPts val="800"/>
                </a:spcBef>
                <a:buSzPct val="70000"/>
                <a:buFont typeface="Wingdings" pitchFamily="2" charset="2"/>
                <a:buChar char="§"/>
                <a:defRPr/>
              </a:pPr>
              <a:r>
                <a:rPr lang="es-ES" sz="1600" dirty="0">
                  <a:solidFill>
                    <a:srgbClr val="1A3B47"/>
                  </a:solidFill>
                </a:rPr>
                <a:t>IT como palanca del negocio</a:t>
              </a:r>
            </a:p>
            <a:p>
              <a:pPr marL="243411" indent="-243411" defTabSz="914377">
                <a:spcBef>
                  <a:spcPts val="800"/>
                </a:spcBef>
                <a:buSzPct val="70000"/>
                <a:buFont typeface="Wingdings" pitchFamily="2" charset="2"/>
                <a:buChar char="§"/>
                <a:defRPr/>
              </a:pPr>
              <a:r>
                <a:rPr lang="es-ES" sz="1600" dirty="0">
                  <a:solidFill>
                    <a:srgbClr val="1A3B47"/>
                  </a:solidFill>
                </a:rPr>
                <a:t>Rápida innovación</a:t>
              </a:r>
            </a:p>
            <a:p>
              <a:pPr marL="243411" indent="-243411" defTabSz="914377">
                <a:spcBef>
                  <a:spcPts val="800"/>
                </a:spcBef>
                <a:buSzPct val="70000"/>
                <a:buFont typeface="Wingdings" pitchFamily="2" charset="2"/>
                <a:buChar char="§"/>
                <a:defRPr/>
              </a:pPr>
              <a:r>
                <a:rPr lang="es-ES" sz="1600" dirty="0">
                  <a:solidFill>
                    <a:srgbClr val="1A3B47"/>
                  </a:solidFill>
                </a:rPr>
                <a:t>Reducción del Time-to-Market</a:t>
              </a:r>
            </a:p>
            <a:p>
              <a:pPr marL="243411" indent="-243411" defTabSz="914377">
                <a:spcBef>
                  <a:spcPts val="800"/>
                </a:spcBef>
                <a:buSzPct val="70000"/>
                <a:buFont typeface="Wingdings" pitchFamily="2" charset="2"/>
                <a:buChar char="§"/>
                <a:defRPr/>
              </a:pPr>
              <a:r>
                <a:rPr lang="es-ES" sz="1600" dirty="0" err="1">
                  <a:solidFill>
                    <a:srgbClr val="1A3B47"/>
                  </a:solidFill>
                </a:rPr>
                <a:t>Mindset</a:t>
              </a:r>
              <a:r>
                <a:rPr lang="es-ES" sz="1600" dirty="0">
                  <a:solidFill>
                    <a:srgbClr val="1A3B47"/>
                  </a:solidFill>
                </a:rPr>
                <a:t> y Metodologías Agile</a:t>
              </a:r>
            </a:p>
            <a:p>
              <a:pPr marL="243411" indent="-243411" defTabSz="914377">
                <a:spcBef>
                  <a:spcPts val="800"/>
                </a:spcBef>
                <a:buSzPct val="70000"/>
                <a:buFont typeface="Wingdings" pitchFamily="2" charset="2"/>
                <a:buChar char="§"/>
                <a:defRPr/>
              </a:pPr>
              <a:r>
                <a:rPr lang="es-ES" sz="1600" dirty="0">
                  <a:solidFill>
                    <a:srgbClr val="1A3B47"/>
                  </a:solidFill>
                </a:rPr>
                <a:t>Flexibilidad y automatización de despliegues</a:t>
              </a:r>
            </a:p>
            <a:p>
              <a:pPr marL="243411" indent="-243411" defTabSz="914377">
                <a:spcBef>
                  <a:spcPts val="800"/>
                </a:spcBef>
                <a:buSzPct val="70000"/>
                <a:buFont typeface="Wingdings" pitchFamily="2" charset="2"/>
                <a:buChar char="§"/>
                <a:defRPr/>
              </a:pPr>
              <a:r>
                <a:rPr lang="es-ES" sz="1600" dirty="0">
                  <a:solidFill>
                    <a:srgbClr val="1A3B47"/>
                  </a:solidFill>
                </a:rPr>
                <a:t>Escalabilidad bajo demanda</a:t>
              </a:r>
            </a:p>
            <a:p>
              <a:pPr marL="243411" indent="-243411" defTabSz="914377">
                <a:spcBef>
                  <a:spcPts val="800"/>
                </a:spcBef>
                <a:buSzPct val="70000"/>
                <a:buFont typeface="Wingdings" pitchFamily="2" charset="2"/>
                <a:buChar char="§"/>
                <a:defRPr/>
              </a:pPr>
              <a:r>
                <a:rPr lang="es-ES" sz="1600" dirty="0">
                  <a:solidFill>
                    <a:srgbClr val="1A3B47"/>
                  </a:solidFill>
                </a:rPr>
                <a:t>Sistemas abiertos</a:t>
              </a:r>
            </a:p>
            <a:p>
              <a:pPr defTabSz="914377">
                <a:defRPr/>
              </a:pPr>
              <a:endParaRPr lang="es-ES" sz="2667" dirty="0">
                <a:solidFill>
                  <a:srgbClr val="1A3B47"/>
                </a:solidFill>
                <a:latin typeface="Playfair Display" panose="00000500000000000000" pitchFamily="2" charset="0"/>
              </a:endParaRPr>
            </a:p>
          </p:txBody>
        </p:sp>
        <p:pic>
          <p:nvPicPr>
            <p:cNvPr id="12" name="Imagen 11"/>
            <p:cNvPicPr>
              <a:picLocks noChangeAspect="1"/>
            </p:cNvPicPr>
            <p:nvPr/>
          </p:nvPicPr>
          <p:blipFill>
            <a:blip r:embed="rId8">
              <a:duotone>
                <a:prstClr val="black"/>
                <a:srgbClr val="1A3B47">
                  <a:tint val="45000"/>
                  <a:satMod val="400000"/>
                </a:srgbClr>
              </a:duotone>
            </a:blip>
            <a:stretch>
              <a:fillRect/>
            </a:stretch>
          </p:blipFill>
          <p:spPr>
            <a:xfrm>
              <a:off x="6765986" y="199185"/>
              <a:ext cx="1024624" cy="870868"/>
            </a:xfrm>
            <a:prstGeom prst="rect">
              <a:avLst/>
            </a:prstGeom>
          </p:spPr>
        </p:pic>
      </p:grpSp>
      <p:sp>
        <p:nvSpPr>
          <p:cNvPr id="14" name="Text Box 21"/>
          <p:cNvSpPr txBox="1">
            <a:spLocks noChangeArrowheads="1"/>
          </p:cNvSpPr>
          <p:nvPr/>
        </p:nvSpPr>
        <p:spPr bwMode="auto">
          <a:xfrm>
            <a:off x="5184123" y="3025802"/>
            <a:ext cx="2016000" cy="631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no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defTabSz="914377" eaLnBrk="1" hangingPunct="1">
              <a:buClr>
                <a:srgbClr val="96A2B4"/>
              </a:buClr>
              <a:buSzPct val="140000"/>
              <a:defRPr/>
            </a:pPr>
            <a:r>
              <a:rPr lang="es-ES" sz="1333" b="0" dirty="0">
                <a:solidFill>
                  <a:srgbClr val="1A3B47"/>
                </a:solidFill>
                <a:latin typeface="Playfair Display"/>
              </a:rPr>
              <a:t>A. Transformar </a:t>
            </a:r>
          </a:p>
          <a:p>
            <a:pPr algn="ctr" defTabSz="914377" eaLnBrk="1" hangingPunct="1">
              <a:buClr>
                <a:srgbClr val="96A2B4"/>
              </a:buClr>
              <a:buSzPct val="140000"/>
              <a:defRPr/>
            </a:pPr>
            <a:r>
              <a:rPr lang="es-ES" sz="1333" b="0" dirty="0">
                <a:solidFill>
                  <a:srgbClr val="1A3B47"/>
                </a:solidFill>
                <a:latin typeface="Playfair Display"/>
              </a:rPr>
              <a:t>el negocio actual</a:t>
            </a:r>
          </a:p>
        </p:txBody>
      </p:sp>
      <p:pic>
        <p:nvPicPr>
          <p:cNvPr id="15" name="Imagen 1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73841" y="2199857"/>
            <a:ext cx="636567" cy="636919"/>
          </a:xfrm>
          <a:prstGeom prst="rect">
            <a:avLst/>
          </a:prstGeom>
        </p:spPr>
      </p:pic>
      <p:sp>
        <p:nvSpPr>
          <p:cNvPr id="16" name="Text Box 17"/>
          <p:cNvSpPr txBox="1">
            <a:spLocks noChangeArrowheads="1"/>
          </p:cNvSpPr>
          <p:nvPr/>
        </p:nvSpPr>
        <p:spPr bwMode="auto">
          <a:xfrm>
            <a:off x="5184123" y="4459888"/>
            <a:ext cx="2016000" cy="5613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no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defTabSz="914377" eaLnBrk="1" hangingPunct="1">
              <a:buClr>
                <a:srgbClr val="96A2B4"/>
              </a:buClr>
              <a:buSzPct val="140000"/>
              <a:defRPr/>
            </a:pPr>
            <a:r>
              <a:rPr lang="es-ES" sz="1333" b="0" dirty="0">
                <a:solidFill>
                  <a:srgbClr val="1A3B47"/>
                </a:solidFill>
                <a:latin typeface="Playfair Display"/>
              </a:rPr>
              <a:t>B. Crear el negocio</a:t>
            </a:r>
          </a:p>
          <a:p>
            <a:pPr algn="ctr" defTabSz="914377" eaLnBrk="1" hangingPunct="1">
              <a:buClr>
                <a:srgbClr val="96A2B4"/>
              </a:buClr>
              <a:buSzPct val="140000"/>
              <a:defRPr/>
            </a:pPr>
            <a:r>
              <a:rPr lang="es-ES" sz="1333" b="0" dirty="0">
                <a:solidFill>
                  <a:srgbClr val="1A3B47"/>
                </a:solidFill>
                <a:latin typeface="Playfair Display"/>
              </a:rPr>
              <a:t>del futuro</a:t>
            </a:r>
          </a:p>
        </p:txBody>
      </p:sp>
      <p:pic>
        <p:nvPicPr>
          <p:cNvPr id="18" name="Imagen 1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850713" y="3578967"/>
            <a:ext cx="682819" cy="691895"/>
          </a:xfrm>
          <a:prstGeom prst="rect">
            <a:avLst/>
          </a:prstGeom>
        </p:spPr>
      </p:pic>
      <p:sp>
        <p:nvSpPr>
          <p:cNvPr id="19" name="Text Box 13"/>
          <p:cNvSpPr txBox="1">
            <a:spLocks noChangeArrowheads="1"/>
          </p:cNvSpPr>
          <p:nvPr/>
        </p:nvSpPr>
        <p:spPr bwMode="auto">
          <a:xfrm>
            <a:off x="5184123" y="5939949"/>
            <a:ext cx="2016000" cy="5613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no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defTabSz="914377" eaLnBrk="1" hangingPunct="1">
              <a:buClr>
                <a:srgbClr val="96A2B4"/>
              </a:buClr>
              <a:buSzPct val="140000"/>
              <a:defRPr/>
            </a:pPr>
            <a:r>
              <a:rPr lang="es-ES" sz="1333" b="0" dirty="0">
                <a:solidFill>
                  <a:srgbClr val="1A3B47"/>
                </a:solidFill>
                <a:latin typeface="Playfair Display"/>
              </a:rPr>
              <a:t>C. Pilotar nuevos modelos </a:t>
            </a:r>
            <a:br>
              <a:rPr lang="es-ES" sz="1333" b="0" dirty="0">
                <a:solidFill>
                  <a:srgbClr val="1A3B47"/>
                </a:solidFill>
                <a:latin typeface="Playfair Display"/>
              </a:rPr>
            </a:br>
            <a:r>
              <a:rPr lang="es-ES" sz="1333" b="0" dirty="0">
                <a:solidFill>
                  <a:srgbClr val="1A3B47"/>
                </a:solidFill>
                <a:latin typeface="Playfair Display"/>
              </a:rPr>
              <a:t>de negocio disruptivos</a:t>
            </a:r>
          </a:p>
        </p:txBody>
      </p:sp>
      <p:pic>
        <p:nvPicPr>
          <p:cNvPr id="20" name="Imagen 1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889343" y="5039733"/>
            <a:ext cx="605560" cy="711187"/>
          </a:xfrm>
          <a:prstGeom prst="rect">
            <a:avLst/>
          </a:prstGeom>
        </p:spPr>
      </p:pic>
      <p:sp>
        <p:nvSpPr>
          <p:cNvPr id="24" name="Marcador de texto 3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</p:spPr>
        <p:txBody>
          <a:bodyPr anchor="ctr">
            <a:noAutofit/>
          </a:bodyPr>
          <a:lstStyle/>
          <a:p>
            <a:r>
              <a:rPr lang="es-ES" sz="1000" dirty="0" err="1">
                <a:solidFill>
                  <a:schemeClr val="tx1"/>
                </a:solidFill>
                <a:latin typeface="Soho Gothic Pro" panose="020B0503030504020204" pitchFamily="34" charset="77"/>
                <a:cs typeface="Georgia"/>
              </a:rPr>
              <a:t>MeetUps</a:t>
            </a:r>
            <a:r>
              <a:rPr lang="es-ES" sz="1000" dirty="0">
                <a:solidFill>
                  <a:schemeClr val="tx1"/>
                </a:solidFill>
                <a:latin typeface="Soho Gothic Pro" panose="020B0503030504020204" pitchFamily="34" charset="77"/>
                <a:cs typeface="Georgia"/>
              </a:rPr>
              <a:t> Tecnologías Avanzadas</a:t>
            </a:r>
          </a:p>
        </p:txBody>
      </p:sp>
      <p:sp>
        <p:nvSpPr>
          <p:cNvPr id="22" name="Título 1"/>
          <p:cNvSpPr>
            <a:spLocks noGrp="1"/>
          </p:cNvSpPr>
          <p:nvPr>
            <p:ph type="title"/>
          </p:nvPr>
        </p:nvSpPr>
        <p:spPr>
          <a:xfrm>
            <a:off x="336000" y="649091"/>
            <a:ext cx="11519451" cy="664797"/>
          </a:xfrm>
          <a:noFill/>
        </p:spPr>
        <p:txBody>
          <a:bodyPr vert="horz" wrap="square" lIns="0" tIns="0" rIns="0" bIns="0" rtlCol="0" anchor="t">
            <a:spAutoFit/>
          </a:bodyPr>
          <a:lstStyle/>
          <a:p>
            <a:r>
              <a:rPr lang="es-ES" sz="2400" dirty="0"/>
              <a:t>El foco en el negocio implica una transformación de la TI para convertirse en palanca de innovación y crecimiento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8425550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36000" y="649095"/>
            <a:ext cx="11519451" cy="475649"/>
          </a:xfrm>
        </p:spPr>
        <p:txBody>
          <a:bodyPr/>
          <a:lstStyle/>
          <a:p>
            <a:r>
              <a:rPr lang="es-ES" sz="2667"/>
              <a:t>Observabilidad</a:t>
            </a:r>
            <a:endParaRPr lang="es-ES" sz="2667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sz="quarter" idx="13"/>
          </p:nvPr>
        </p:nvSpPr>
        <p:spPr/>
        <p:txBody>
          <a:bodyPr lIns="0" anchor="ctr" anchorCtr="0">
            <a:noAutofit/>
          </a:bodyPr>
          <a:lstStyle/>
          <a:p>
            <a:r>
              <a:rPr lang="es-ES" dirty="0" err="1">
                <a:solidFill>
                  <a:schemeClr val="tx1"/>
                </a:solidFill>
                <a:latin typeface="Soho Gothic Pro" panose="020B0503030504020204" pitchFamily="34" charset="77"/>
              </a:rPr>
              <a:t>MeetUps</a:t>
            </a:r>
            <a:r>
              <a:rPr lang="es-ES" dirty="0">
                <a:solidFill>
                  <a:schemeClr val="tx1"/>
                </a:solidFill>
                <a:latin typeface="Soho Gothic Pro" panose="020B0503030504020204" pitchFamily="34" charset="77"/>
              </a:rPr>
              <a:t> Tecnologías Avanzadas</a:t>
            </a:r>
          </a:p>
        </p:txBody>
      </p:sp>
      <p:sp>
        <p:nvSpPr>
          <p:cNvPr id="15" name="CuadroTexto 222">
            <a:extLst>
              <a:ext uri="{FF2B5EF4-FFF2-40B4-BE49-F238E27FC236}">
                <a16:creationId xmlns:a16="http://schemas.microsoft.com/office/drawing/2014/main" id="{9929A568-9B98-6240-85E3-270DDF61474A}"/>
              </a:ext>
            </a:extLst>
          </p:cNvPr>
          <p:cNvSpPr txBox="1"/>
          <p:nvPr/>
        </p:nvSpPr>
        <p:spPr>
          <a:xfrm>
            <a:off x="2855640" y="1662870"/>
            <a:ext cx="8208912" cy="2270186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noAutofit/>
          </a:bodyPr>
          <a:lstStyle/>
          <a:p>
            <a:pPr algn="just">
              <a:defRPr/>
            </a:pPr>
            <a:r>
              <a:rPr lang="es-ES" sz="1600" dirty="0"/>
              <a:t>Los </a:t>
            </a:r>
            <a:r>
              <a:rPr lang="es-ES" sz="1600" b="1" dirty="0"/>
              <a:t>Sistemas Monolíticos </a:t>
            </a:r>
            <a:r>
              <a:rPr lang="es-ES" sz="1600" dirty="0"/>
              <a:t>agrupan la funcionalidad y sus servicios en una base de código única. </a:t>
            </a:r>
          </a:p>
          <a:p>
            <a:pPr algn="just">
              <a:defRPr/>
            </a:pPr>
            <a:endParaRPr lang="es-ES" sz="1600" dirty="0"/>
          </a:p>
          <a:p>
            <a:pPr algn="just">
              <a:defRPr/>
            </a:pPr>
            <a:r>
              <a:rPr lang="es-ES" sz="1200" dirty="0"/>
              <a:t>Las primeras aplicaciones de software usan este diseño y aunque se han desarrollado alternativas más sofisticadas siguen teniendo ventajas importantes:</a:t>
            </a:r>
          </a:p>
          <a:p>
            <a:pPr algn="just">
              <a:defRPr/>
            </a:pPr>
            <a:r>
              <a:rPr lang="es-ES" sz="1200" dirty="0"/>
              <a:t> </a:t>
            </a:r>
          </a:p>
          <a:p>
            <a:pPr marL="171450" indent="-1714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s-ES" sz="1200" dirty="0"/>
              <a:t>Son </a:t>
            </a:r>
            <a:r>
              <a:rPr lang="es-ES" sz="1200" b="1" dirty="0"/>
              <a:t>fáciles</a:t>
            </a:r>
            <a:r>
              <a:rPr lang="es-ES" sz="1200" dirty="0"/>
              <a:t> de desarrollar y desplegar</a:t>
            </a:r>
          </a:p>
          <a:p>
            <a:pPr marL="171450" indent="-1714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s-ES" sz="1200" dirty="0"/>
              <a:t>Es </a:t>
            </a:r>
            <a:r>
              <a:rPr lang="es-ES" sz="1200" b="1" dirty="0"/>
              <a:t>sencillo</a:t>
            </a:r>
            <a:r>
              <a:rPr lang="es-ES" sz="1200" dirty="0"/>
              <a:t> y </a:t>
            </a:r>
            <a:r>
              <a:rPr lang="es-ES" sz="1200" b="1" dirty="0"/>
              <a:t>rápido</a:t>
            </a:r>
            <a:r>
              <a:rPr lang="es-ES" sz="1200" dirty="0"/>
              <a:t> ejecutarlas.</a:t>
            </a:r>
          </a:p>
          <a:p>
            <a:pPr marL="171450" indent="-171450" algn="just">
              <a:buFont typeface="Arial" panose="020B0604020202020204" pitchFamily="34" charset="0"/>
              <a:buChar char="•"/>
              <a:defRPr/>
            </a:pPr>
            <a:r>
              <a:rPr lang="es-ES" sz="1200" b="1" dirty="0"/>
              <a:t>Menos costoso </a:t>
            </a:r>
            <a:r>
              <a:rPr lang="es-ES" sz="1200" dirty="0"/>
              <a:t>que sus alternativas</a:t>
            </a:r>
            <a:r>
              <a:rPr lang="es-ES" sz="1600" dirty="0"/>
              <a:t>.</a:t>
            </a:r>
          </a:p>
        </p:txBody>
      </p:sp>
      <p:sp>
        <p:nvSpPr>
          <p:cNvPr id="27" name="CuadroTexto 222">
            <a:extLst>
              <a:ext uri="{FF2B5EF4-FFF2-40B4-BE49-F238E27FC236}">
                <a16:creationId xmlns:a16="http://schemas.microsoft.com/office/drawing/2014/main" id="{2B92D797-BE96-C245-84AD-0449FD9C812B}"/>
              </a:ext>
            </a:extLst>
          </p:cNvPr>
          <p:cNvSpPr txBox="1"/>
          <p:nvPr/>
        </p:nvSpPr>
        <p:spPr>
          <a:xfrm>
            <a:off x="2855640" y="3997156"/>
            <a:ext cx="4752528" cy="2845110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noAutofit/>
          </a:bodyPr>
          <a:lstStyle/>
          <a:p>
            <a:pPr algn="just"/>
            <a:r>
              <a:rPr lang="es-ES" sz="1200" dirty="0"/>
              <a:t>Sin embargo tiene las siguientes </a:t>
            </a:r>
            <a:r>
              <a:rPr lang="es-ES" sz="1200" b="1" dirty="0"/>
              <a:t>dificultades</a:t>
            </a:r>
            <a:r>
              <a:rPr lang="es-ES" sz="1200" dirty="0"/>
              <a:t>:</a:t>
            </a:r>
          </a:p>
          <a:p>
            <a:pPr algn="just"/>
            <a:endParaRPr lang="es-ES" sz="1200" dirty="0"/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ES" sz="1200" dirty="0"/>
              <a:t>Dificultades a la hora de </a:t>
            </a:r>
            <a:r>
              <a:rPr lang="es-ES" sz="1200" b="1" dirty="0"/>
              <a:t>desplegar</a:t>
            </a:r>
            <a:r>
              <a:rPr lang="es-ES" sz="1200" dirty="0"/>
              <a:t>, ya que todo nuevo despliegue requiere relanzar la aplicación en su conjunto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ES" sz="1200" dirty="0"/>
              <a:t>Resulta difícil </a:t>
            </a:r>
            <a:r>
              <a:rPr lang="es-ES" sz="1200" b="1" dirty="0"/>
              <a:t>identificar</a:t>
            </a:r>
            <a:r>
              <a:rPr lang="es-ES" sz="1200" dirty="0"/>
              <a:t> y </a:t>
            </a:r>
            <a:r>
              <a:rPr lang="es-ES" sz="1200" b="1" dirty="0"/>
              <a:t>solucionar</a:t>
            </a:r>
            <a:r>
              <a:rPr lang="es-ES" sz="1200" dirty="0"/>
              <a:t> problemas concretos, ya que cualquier paso en falso puede comprometer el código en su conjunto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ES" sz="1200" dirty="0"/>
              <a:t>Las</a:t>
            </a:r>
            <a:r>
              <a:rPr lang="es-ES" sz="1200" b="1" dirty="0"/>
              <a:t> </a:t>
            </a:r>
            <a:r>
              <a:rPr lang="es-ES" sz="1200" dirty="0"/>
              <a:t>aplicaciones monolíticas son un reto de </a:t>
            </a:r>
            <a:r>
              <a:rPr lang="es-ES" sz="1200" b="1" dirty="0"/>
              <a:t>crecimiento</a:t>
            </a:r>
            <a:r>
              <a:rPr lang="es-ES" sz="1200" dirty="0"/>
              <a:t>. Ya que tratándose de un código único, no es posible trabajar en diversos ambientes </a:t>
            </a:r>
            <a:r>
              <a:rPr lang="es-ES" sz="1200" b="1" dirty="0"/>
              <a:t>simultáneamente</a:t>
            </a:r>
            <a:r>
              <a:rPr lang="es-ES" sz="1200" dirty="0"/>
              <a:t>.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ES" sz="1200" dirty="0"/>
              <a:t>El </a:t>
            </a:r>
            <a:r>
              <a:rPr lang="es-ES" sz="1200" b="1" dirty="0"/>
              <a:t>crecimiento del código </a:t>
            </a:r>
            <a:r>
              <a:rPr lang="es-ES" sz="1200" dirty="0"/>
              <a:t>va aparejado de una sobrecarga de la aplicación informática, lo que en última instancia repercute sobre su </a:t>
            </a:r>
            <a:r>
              <a:rPr lang="es-ES" sz="1200" b="1" dirty="0"/>
              <a:t>agilidad</a:t>
            </a:r>
            <a:r>
              <a:rPr lang="es-ES" sz="1200" dirty="0"/>
              <a:t>.</a:t>
            </a:r>
          </a:p>
        </p:txBody>
      </p:sp>
      <p:sp>
        <p:nvSpPr>
          <p:cNvPr id="7" name="Trapecio 31">
            <a:extLst>
              <a:ext uri="{FF2B5EF4-FFF2-40B4-BE49-F238E27FC236}">
                <a16:creationId xmlns:a16="http://schemas.microsoft.com/office/drawing/2014/main" id="{25246D64-0E38-FE4F-B8BC-749671528070}"/>
              </a:ext>
            </a:extLst>
          </p:cNvPr>
          <p:cNvSpPr/>
          <p:nvPr/>
        </p:nvSpPr>
        <p:spPr>
          <a:xfrm rot="5400000">
            <a:off x="-2378531" y="2830523"/>
            <a:ext cx="6747797" cy="3192223"/>
          </a:xfrm>
          <a:prstGeom prst="trapezoid">
            <a:avLst>
              <a:gd name="adj" fmla="val 27949"/>
            </a:avLst>
          </a:prstGeom>
          <a:solidFill>
            <a:schemeClr val="accent4">
              <a:lumMod val="60000"/>
              <a:lumOff val="40000"/>
            </a:schemeClr>
          </a:solidFill>
          <a:ln w="698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96000" tIns="96000" rIns="96000" bIns="96000" rtlCol="0" anchor="ctr"/>
          <a:lstStyle/>
          <a:p>
            <a:pPr algn="ctr"/>
            <a:endParaRPr lang="es-ES" sz="2399" dirty="0">
              <a:solidFill>
                <a:schemeClr val="tx1"/>
              </a:solidFill>
            </a:endParaRPr>
          </a:p>
        </p:txBody>
      </p:sp>
      <p:pic>
        <p:nvPicPr>
          <p:cNvPr id="247816" name="Picture 8" descr="Diving Into Reactive Microservices - DZone Microservices">
            <a:extLst>
              <a:ext uri="{FF2B5EF4-FFF2-40B4-BE49-F238E27FC236}">
                <a16:creationId xmlns:a16="http://schemas.microsoft.com/office/drawing/2014/main" id="{BF751B9F-1ACD-B449-9BA1-28F9521B4F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6879" y="3909392"/>
            <a:ext cx="4655840" cy="2327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7818" name="Picture 10" descr="Monument icon">
            <a:extLst>
              <a:ext uri="{FF2B5EF4-FFF2-40B4-BE49-F238E27FC236}">
                <a16:creationId xmlns:a16="http://schemas.microsoft.com/office/drawing/2014/main" id="{4C920DA7-CF97-5442-A01F-29348B773E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368" y="2937284"/>
            <a:ext cx="1800200" cy="18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80907AA-BB62-094E-81D3-299BB5218D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33146" y="2797963"/>
            <a:ext cx="2327471" cy="1299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34551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36000" y="649095"/>
            <a:ext cx="11519451" cy="475649"/>
          </a:xfrm>
        </p:spPr>
        <p:txBody>
          <a:bodyPr/>
          <a:lstStyle/>
          <a:p>
            <a:r>
              <a:rPr lang="es-ES" sz="2667" dirty="0"/>
              <a:t>Evolución de las Arquitecturas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sz="quarter" idx="13"/>
          </p:nvPr>
        </p:nvSpPr>
        <p:spPr/>
        <p:txBody>
          <a:bodyPr lIns="0" anchor="ctr" anchorCtr="0">
            <a:noAutofit/>
          </a:bodyPr>
          <a:lstStyle/>
          <a:p>
            <a:r>
              <a:rPr lang="es-ES" dirty="0" err="1">
                <a:solidFill>
                  <a:schemeClr val="tx1"/>
                </a:solidFill>
                <a:latin typeface="Soho Gothic Pro" panose="020B0503030504020204" pitchFamily="34" charset="77"/>
              </a:rPr>
              <a:t>MeetUps</a:t>
            </a:r>
            <a:r>
              <a:rPr lang="es-ES" dirty="0">
                <a:solidFill>
                  <a:schemeClr val="tx1"/>
                </a:solidFill>
                <a:latin typeface="Soho Gothic Pro" panose="020B0503030504020204" pitchFamily="34" charset="77"/>
              </a:rPr>
              <a:t> Tecnologías Avanzadas</a:t>
            </a:r>
          </a:p>
        </p:txBody>
      </p:sp>
      <p:sp>
        <p:nvSpPr>
          <p:cNvPr id="15" name="CuadroTexto 222">
            <a:extLst>
              <a:ext uri="{FF2B5EF4-FFF2-40B4-BE49-F238E27FC236}">
                <a16:creationId xmlns:a16="http://schemas.microsoft.com/office/drawing/2014/main" id="{9929A568-9B98-6240-85E3-270DDF61474A}"/>
              </a:ext>
            </a:extLst>
          </p:cNvPr>
          <p:cNvSpPr txBox="1"/>
          <p:nvPr/>
        </p:nvSpPr>
        <p:spPr>
          <a:xfrm>
            <a:off x="407368" y="1268760"/>
            <a:ext cx="11089232" cy="90203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noAutofit/>
          </a:bodyPr>
          <a:lstStyle/>
          <a:p>
            <a:pPr algn="just">
              <a:defRPr/>
            </a:pPr>
            <a:r>
              <a:rPr lang="es-ES" sz="1600" dirty="0"/>
              <a:t>Sin embargo, el auge de nuevas tecnologías como la </a:t>
            </a:r>
            <a:r>
              <a:rPr lang="es-ES" sz="1600" b="1" dirty="0" err="1"/>
              <a:t>contenerización</a:t>
            </a:r>
            <a:r>
              <a:rPr lang="es-ES" sz="1600" dirty="0"/>
              <a:t>, </a:t>
            </a:r>
            <a:r>
              <a:rPr lang="es-ES" sz="1600" b="1" dirty="0"/>
              <a:t>orquestación de </a:t>
            </a:r>
            <a:r>
              <a:rPr lang="es-ES" sz="1600" b="1" dirty="0" err="1"/>
              <a:t>microservicios</a:t>
            </a:r>
            <a:r>
              <a:rPr lang="es-ES" sz="1600" b="1" dirty="0"/>
              <a:t> </a:t>
            </a:r>
            <a:r>
              <a:rPr lang="es-ES" sz="1600" dirty="0"/>
              <a:t>o </a:t>
            </a:r>
            <a:r>
              <a:rPr lang="es-ES" sz="1600" b="1" dirty="0" err="1"/>
              <a:t>Service</a:t>
            </a:r>
            <a:r>
              <a:rPr lang="es-ES" sz="1600" b="1" dirty="0"/>
              <a:t> </a:t>
            </a:r>
            <a:r>
              <a:rPr lang="es-ES" sz="1600" b="1" dirty="0" err="1"/>
              <a:t>Mesh</a:t>
            </a:r>
            <a:r>
              <a:rPr lang="es-ES" sz="1600" dirty="0"/>
              <a:t>, hicieron que posteriormente </a:t>
            </a:r>
            <a:r>
              <a:rPr lang="es-ES" sz="1600" b="1" dirty="0" err="1"/>
              <a:t>Netflix</a:t>
            </a:r>
            <a:r>
              <a:rPr lang="es-ES" sz="1600" dirty="0"/>
              <a:t> evolucionara cambiando el enfoque hacía nuevas soluciones como </a:t>
            </a:r>
            <a:r>
              <a:rPr lang="es-ES" sz="1600" b="1" dirty="0" err="1"/>
              <a:t>Docker</a:t>
            </a:r>
            <a:r>
              <a:rPr lang="es-ES" sz="1600" dirty="0"/>
              <a:t>, </a:t>
            </a:r>
            <a:r>
              <a:rPr lang="es-ES" sz="1600" b="1" dirty="0" err="1"/>
              <a:t>Kubernetes</a:t>
            </a:r>
            <a:r>
              <a:rPr lang="es-ES" sz="1600" dirty="0"/>
              <a:t> o </a:t>
            </a:r>
            <a:r>
              <a:rPr lang="es-ES" sz="1600" b="1" dirty="0" err="1"/>
              <a:t>Istio</a:t>
            </a:r>
            <a:r>
              <a:rPr lang="es-ES" sz="1600" dirty="0"/>
              <a:t>.</a:t>
            </a:r>
            <a:endParaRPr lang="es-ES" sz="1600" dirty="0">
              <a:solidFill>
                <a:srgbClr val="000000"/>
              </a:solidFill>
            </a:endParaRPr>
          </a:p>
        </p:txBody>
      </p:sp>
      <p:sp>
        <p:nvSpPr>
          <p:cNvPr id="27" name="CuadroTexto 222">
            <a:extLst>
              <a:ext uri="{FF2B5EF4-FFF2-40B4-BE49-F238E27FC236}">
                <a16:creationId xmlns:a16="http://schemas.microsoft.com/office/drawing/2014/main" id="{2B92D797-BE96-C245-84AD-0449FD9C812B}"/>
              </a:ext>
            </a:extLst>
          </p:cNvPr>
          <p:cNvSpPr txBox="1"/>
          <p:nvPr/>
        </p:nvSpPr>
        <p:spPr>
          <a:xfrm>
            <a:off x="479376" y="2420888"/>
            <a:ext cx="5040560" cy="3672408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noAutofit/>
          </a:bodyPr>
          <a:lstStyle/>
          <a:p>
            <a:pPr algn="just"/>
            <a:r>
              <a:rPr lang="es-ES" sz="1200" dirty="0"/>
              <a:t>Inconvenientes del uso de </a:t>
            </a:r>
            <a:r>
              <a:rPr lang="es-ES" sz="1200" b="1" dirty="0" err="1"/>
              <a:t>Netflix</a:t>
            </a:r>
            <a:r>
              <a:rPr lang="es-ES" sz="1200" b="1" dirty="0"/>
              <a:t> OSS</a:t>
            </a:r>
            <a:r>
              <a:rPr lang="es-ES" sz="1200" dirty="0"/>
              <a:t>:</a:t>
            </a:r>
          </a:p>
          <a:p>
            <a:pPr algn="just"/>
            <a:endParaRPr lang="es-ES" sz="1200" dirty="0"/>
          </a:p>
          <a:p>
            <a:pPr marL="285750" lvl="0" indent="-285750" algn="just">
              <a:buFont typeface="Arial" panose="020B0604020202020204" pitchFamily="34" charset="0"/>
              <a:buChar char="•"/>
            </a:pPr>
            <a:r>
              <a:rPr lang="es-ES" sz="1200" dirty="0"/>
              <a:t>Las bibliotecas de </a:t>
            </a:r>
            <a:r>
              <a:rPr lang="es-ES" sz="1200" dirty="0" err="1"/>
              <a:t>Netflix</a:t>
            </a:r>
            <a:r>
              <a:rPr lang="es-ES" sz="1200" dirty="0"/>
              <a:t> están estrechamente </a:t>
            </a:r>
            <a:r>
              <a:rPr lang="es-ES" sz="1200" b="1" dirty="0"/>
              <a:t>acopladas</a:t>
            </a:r>
            <a:r>
              <a:rPr lang="es-ES" sz="1200" dirty="0"/>
              <a:t> a la plataforma Java y son una buena opción si está desarrollando servicios en la plataforma Java. Sin embargo, en una arquitectura políglota, se debe buscar bibliotecas más allá de </a:t>
            </a:r>
            <a:r>
              <a:rPr lang="es-ES" sz="1200" dirty="0" err="1"/>
              <a:t>Netflix</a:t>
            </a:r>
            <a:r>
              <a:rPr lang="es-ES" sz="1200" dirty="0"/>
              <a:t> para manejar la </a:t>
            </a:r>
            <a:r>
              <a:rPr lang="es-ES" sz="1200" b="1" dirty="0"/>
              <a:t>comunicación entre servicios</a:t>
            </a:r>
            <a:r>
              <a:rPr lang="es-ES" sz="1200" dirty="0"/>
              <a:t>.</a:t>
            </a:r>
          </a:p>
          <a:p>
            <a:pPr marL="285750" lvl="0" indent="-285750" algn="just">
              <a:buFont typeface="Arial" panose="020B0604020202020204" pitchFamily="34" charset="0"/>
              <a:buChar char="•"/>
            </a:pPr>
            <a:r>
              <a:rPr lang="es-ES" sz="1200" dirty="0"/>
              <a:t>Las bibliotecas de </a:t>
            </a:r>
            <a:r>
              <a:rPr lang="es-ES" sz="1200" dirty="0" err="1"/>
              <a:t>Netflix</a:t>
            </a:r>
            <a:r>
              <a:rPr lang="es-ES" sz="1200" dirty="0"/>
              <a:t> </a:t>
            </a:r>
            <a:r>
              <a:rPr lang="es-ES" sz="1200" b="1" dirty="0"/>
              <a:t>deben integrarse </a:t>
            </a:r>
            <a:r>
              <a:rPr lang="es-ES" sz="1200" dirty="0"/>
              <a:t>dentro de cada </a:t>
            </a:r>
            <a:r>
              <a:rPr lang="es-ES" sz="1200" dirty="0" err="1"/>
              <a:t>microservicio</a:t>
            </a:r>
            <a:r>
              <a:rPr lang="es-ES" sz="1200" dirty="0"/>
              <a:t> junto con la lógica de negocio complementarias. Esto provoca que la aplicación aumente de tamaño, ya que deberá duplicar un código similar en todos sus servicios.</a:t>
            </a:r>
          </a:p>
          <a:p>
            <a:pPr marL="285750" lvl="0" indent="-285750" algn="just">
              <a:buFont typeface="Arial" panose="020B0604020202020204" pitchFamily="34" charset="0"/>
              <a:buChar char="•"/>
            </a:pPr>
            <a:r>
              <a:rPr lang="es-ES" sz="1200" dirty="0"/>
              <a:t>Tener tanto la lógica de negocio como la lógica de infraestructura aumenta la </a:t>
            </a:r>
            <a:r>
              <a:rPr lang="es-ES" sz="1200" b="1" dirty="0"/>
              <a:t>complejidad</a:t>
            </a:r>
            <a:r>
              <a:rPr lang="es-ES" sz="1200" dirty="0"/>
              <a:t> general de la aplicación.</a:t>
            </a:r>
          </a:p>
          <a:p>
            <a:pPr marL="285750" lvl="0" indent="-285750" algn="just">
              <a:buFont typeface="Arial" panose="020B0604020202020204" pitchFamily="34" charset="0"/>
              <a:buChar char="•"/>
            </a:pPr>
            <a:r>
              <a:rPr lang="es-ES" sz="1200" dirty="0"/>
              <a:t>La </a:t>
            </a:r>
            <a:r>
              <a:rPr lang="es-ES" sz="1200" b="1" dirty="0"/>
              <a:t>complejidad operativa </a:t>
            </a:r>
            <a:r>
              <a:rPr lang="es-ES" sz="1200" dirty="0"/>
              <a:t>también empeora, ya que se necesita manejar los parches y actualizaciones de los componentes.</a:t>
            </a:r>
          </a:p>
          <a:p>
            <a:pPr marL="285750" lvl="0" indent="-285750" algn="just">
              <a:buFont typeface="Arial" panose="020B0604020202020204" pitchFamily="34" charset="0"/>
              <a:buChar char="•"/>
            </a:pPr>
            <a:r>
              <a:rPr lang="es-ES" sz="1200" dirty="0"/>
              <a:t>Se requieren herramientas adicionales para mejorar la </a:t>
            </a:r>
            <a:r>
              <a:rPr lang="es-ES" sz="1200" dirty="0" err="1"/>
              <a:t>observabilidad</a:t>
            </a:r>
            <a:r>
              <a:rPr lang="es-ES" sz="1200" dirty="0"/>
              <a:t> de su arquitectura de </a:t>
            </a:r>
            <a:r>
              <a:rPr lang="es-ES" sz="1200" dirty="0" err="1"/>
              <a:t>microservicios</a:t>
            </a:r>
            <a:r>
              <a:rPr lang="es-ES" sz="1200" dirty="0"/>
              <a:t>.</a:t>
            </a:r>
          </a:p>
        </p:txBody>
      </p:sp>
      <p:pic>
        <p:nvPicPr>
          <p:cNvPr id="245762" name="Picture 2" descr="https://rajivcloudzonecom.files.wordpress.com/2020/06/image-14.png?w=2048">
            <a:extLst>
              <a:ext uri="{FF2B5EF4-FFF2-40B4-BE49-F238E27FC236}">
                <a16:creationId xmlns:a16="http://schemas.microsoft.com/office/drawing/2014/main" id="{9CE8B7D0-38AE-A449-A6CE-B1F8B57973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9976" y="2905975"/>
            <a:ext cx="6094282" cy="281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86840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5291" y="3902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3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91" y="3902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 Rectángulo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400" dirty="0">
              <a:latin typeface="Georgia"/>
              <a:ea typeface="+mj-ea"/>
              <a:cs typeface="+mj-cs"/>
              <a:sym typeface="Georgia"/>
            </a:endParaRPr>
          </a:p>
        </p:txBody>
      </p:sp>
      <p:sp>
        <p:nvSpPr>
          <p:cNvPr id="37" name="Forma libre 36"/>
          <p:cNvSpPr/>
          <p:nvPr/>
        </p:nvSpPr>
        <p:spPr>
          <a:xfrm rot="5400000">
            <a:off x="336389" y="1267732"/>
            <a:ext cx="5816456" cy="5530481"/>
          </a:xfrm>
          <a:custGeom>
            <a:avLst/>
            <a:gdLst>
              <a:gd name="connsiteX0" fmla="*/ 0 w 2710082"/>
              <a:gd name="connsiteY0" fmla="*/ 2342580 h 2342580"/>
              <a:gd name="connsiteX1" fmla="*/ 654728 w 2710082"/>
              <a:gd name="connsiteY1" fmla="*/ 0 h 2342580"/>
              <a:gd name="connsiteX2" fmla="*/ 2710082 w 2710082"/>
              <a:gd name="connsiteY2" fmla="*/ 0 h 2342580"/>
              <a:gd name="connsiteX3" fmla="*/ 2710082 w 2710082"/>
              <a:gd name="connsiteY3" fmla="*/ 2342580 h 2342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10082" h="2342580">
                <a:moveTo>
                  <a:pt x="0" y="2342580"/>
                </a:moveTo>
                <a:lnTo>
                  <a:pt x="654728" y="0"/>
                </a:lnTo>
                <a:lnTo>
                  <a:pt x="2710082" y="0"/>
                </a:lnTo>
                <a:lnTo>
                  <a:pt x="2710082" y="2342580"/>
                </a:lnTo>
                <a:close/>
              </a:path>
            </a:pathLst>
          </a:custGeom>
          <a:solidFill>
            <a:srgbClr val="BCE2DA"/>
          </a:solidFill>
          <a:ln w="1016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square" lIns="95950" tIns="95950" rIns="95950" bIns="95950" rtlCol="0" anchor="ctr">
            <a:noAutofit/>
          </a:bodyPr>
          <a:lstStyle/>
          <a:p>
            <a:pPr algn="ctr"/>
            <a:endParaRPr lang="es-ES" sz="2397" dirty="0">
              <a:solidFill>
                <a:schemeClr val="tx1"/>
              </a:solidFill>
            </a:endParaRPr>
          </a:p>
        </p:txBody>
      </p:sp>
      <p:sp>
        <p:nvSpPr>
          <p:cNvPr id="39" name="Forma libre 38"/>
          <p:cNvSpPr/>
          <p:nvPr/>
        </p:nvSpPr>
        <p:spPr>
          <a:xfrm rot="5400000">
            <a:off x="6220328" y="1267732"/>
            <a:ext cx="5816456" cy="5530481"/>
          </a:xfrm>
          <a:custGeom>
            <a:avLst/>
            <a:gdLst>
              <a:gd name="connsiteX0" fmla="*/ 0 w 2710082"/>
              <a:gd name="connsiteY0" fmla="*/ 2342580 h 2342580"/>
              <a:gd name="connsiteX1" fmla="*/ 654728 w 2710082"/>
              <a:gd name="connsiteY1" fmla="*/ 0 h 2342580"/>
              <a:gd name="connsiteX2" fmla="*/ 2710082 w 2710082"/>
              <a:gd name="connsiteY2" fmla="*/ 0 h 2342580"/>
              <a:gd name="connsiteX3" fmla="*/ 2710082 w 2710082"/>
              <a:gd name="connsiteY3" fmla="*/ 2342580 h 2342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10082" h="2342580">
                <a:moveTo>
                  <a:pt x="0" y="2342580"/>
                </a:moveTo>
                <a:lnTo>
                  <a:pt x="654728" y="0"/>
                </a:lnTo>
                <a:lnTo>
                  <a:pt x="2710082" y="0"/>
                </a:lnTo>
                <a:lnTo>
                  <a:pt x="2710082" y="2342580"/>
                </a:lnTo>
                <a:close/>
              </a:path>
            </a:pathLst>
          </a:custGeom>
          <a:solidFill>
            <a:schemeClr val="accent4"/>
          </a:solidFill>
          <a:ln w="1016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square" lIns="95950" tIns="95950" rIns="95950" bIns="95950" rtlCol="0" anchor="ctr">
            <a:noAutofit/>
          </a:bodyPr>
          <a:lstStyle/>
          <a:p>
            <a:pPr algn="ctr"/>
            <a:endParaRPr lang="es-ES" sz="2397" dirty="0">
              <a:solidFill>
                <a:schemeClr val="tx1"/>
              </a:solidFill>
            </a:endParaRPr>
          </a:p>
        </p:txBody>
      </p:sp>
      <p:sp>
        <p:nvSpPr>
          <p:cNvPr id="4" name="Rectángulo 3"/>
          <p:cNvSpPr/>
          <p:nvPr/>
        </p:nvSpPr>
        <p:spPr>
          <a:xfrm>
            <a:off x="3176" y="5589240"/>
            <a:ext cx="12188824" cy="7920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 sz="1599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Descarga la presentación…..</a:t>
            </a:r>
          </a:p>
        </p:txBody>
      </p:sp>
      <p:sp>
        <p:nvSpPr>
          <p:cNvPr id="6" name="Marcador de texto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ES" dirty="0" err="1"/>
              <a:t>MeetUps</a:t>
            </a:r>
            <a:r>
              <a:rPr lang="es-ES" dirty="0"/>
              <a:t> Tecnologías Avanzadas</a:t>
            </a:r>
          </a:p>
        </p:txBody>
      </p:sp>
      <p:sp>
        <p:nvSpPr>
          <p:cNvPr id="12" name="Line 11"/>
          <p:cNvSpPr>
            <a:spLocks noChangeShapeType="1"/>
          </p:cNvSpPr>
          <p:nvPr/>
        </p:nvSpPr>
        <p:spPr bwMode="auto">
          <a:xfrm flipV="1">
            <a:off x="7285285" y="1864670"/>
            <a:ext cx="0" cy="8349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s-ES" sz="2397">
              <a:latin typeface="+mj-lt"/>
            </a:endParaRPr>
          </a:p>
        </p:txBody>
      </p:sp>
      <p:sp>
        <p:nvSpPr>
          <p:cNvPr id="14" name="Text Box 13"/>
          <p:cNvSpPr txBox="1">
            <a:spLocks noChangeArrowheads="1"/>
          </p:cNvSpPr>
          <p:nvPr/>
        </p:nvSpPr>
        <p:spPr bwMode="auto">
          <a:xfrm>
            <a:off x="1728728" y="2060848"/>
            <a:ext cx="1919000" cy="246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no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lnSpc>
                <a:spcPct val="80000"/>
              </a:lnSpc>
              <a:spcBef>
                <a:spcPct val="20000"/>
              </a:spcBef>
              <a:buClr>
                <a:srgbClr val="96A2B4"/>
              </a:buClr>
              <a:buSzPct val="140000"/>
              <a:buFont typeface="Wingdings" charset="0"/>
              <a:buNone/>
            </a:pPr>
            <a:r>
              <a:rPr lang="es-ES_tradnl" sz="1999" b="0" dirty="0">
                <a:latin typeface="+mj-lt"/>
              </a:rPr>
              <a:t>Video:</a:t>
            </a:r>
          </a:p>
          <a:p>
            <a:pPr eaLnBrk="1" hangingPunct="1">
              <a:lnSpc>
                <a:spcPct val="80000"/>
              </a:lnSpc>
              <a:spcBef>
                <a:spcPct val="20000"/>
              </a:spcBef>
              <a:buClr>
                <a:srgbClr val="96A2B4"/>
              </a:buClr>
              <a:buSzPct val="140000"/>
              <a:buFont typeface="Wingdings" charset="0"/>
              <a:buNone/>
            </a:pPr>
            <a:r>
              <a:rPr lang="es-ES_tradnl" sz="1999" b="0" dirty="0">
                <a:latin typeface="+mj-lt"/>
              </a:rPr>
              <a:t>Virtual Campus</a:t>
            </a:r>
          </a:p>
        </p:txBody>
      </p:sp>
      <p:sp>
        <p:nvSpPr>
          <p:cNvPr id="16" name="Line 15"/>
          <p:cNvSpPr>
            <a:spLocks noChangeShapeType="1"/>
          </p:cNvSpPr>
          <p:nvPr/>
        </p:nvSpPr>
        <p:spPr bwMode="auto">
          <a:xfrm flipV="1">
            <a:off x="1603305" y="1880329"/>
            <a:ext cx="0" cy="8349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s-ES" sz="2397">
              <a:latin typeface="+mj-lt"/>
            </a:endParaRPr>
          </a:p>
        </p:txBody>
      </p:sp>
      <p:sp>
        <p:nvSpPr>
          <p:cNvPr id="33" name="Text Box 13"/>
          <p:cNvSpPr txBox="1">
            <a:spLocks noChangeArrowheads="1"/>
          </p:cNvSpPr>
          <p:nvPr/>
        </p:nvSpPr>
        <p:spPr bwMode="auto">
          <a:xfrm>
            <a:off x="7417360" y="2060848"/>
            <a:ext cx="1919000" cy="246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no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lnSpc>
                <a:spcPct val="80000"/>
              </a:lnSpc>
              <a:spcBef>
                <a:spcPct val="20000"/>
              </a:spcBef>
              <a:buClr>
                <a:srgbClr val="96A2B4"/>
              </a:buClr>
              <a:buSzPct val="140000"/>
              <a:buFont typeface="Wingdings" charset="0"/>
              <a:buNone/>
            </a:pPr>
            <a:r>
              <a:rPr lang="es-ES_tradnl" sz="1999" b="0" dirty="0">
                <a:latin typeface="+mj-lt"/>
              </a:rPr>
              <a:t>Presentación:</a:t>
            </a:r>
          </a:p>
          <a:p>
            <a:pPr eaLnBrk="1" hangingPunct="1">
              <a:lnSpc>
                <a:spcPct val="80000"/>
              </a:lnSpc>
              <a:spcBef>
                <a:spcPct val="20000"/>
              </a:spcBef>
              <a:buClr>
                <a:srgbClr val="96A2B4"/>
              </a:buClr>
              <a:buSzPct val="140000"/>
              <a:buFont typeface="Wingdings" charset="0"/>
              <a:buNone/>
            </a:pPr>
            <a:r>
              <a:rPr lang="es-ES_tradnl" sz="1999" b="0" dirty="0">
                <a:latin typeface="+mj-lt"/>
              </a:rPr>
              <a:t>MKM</a:t>
            </a:r>
          </a:p>
        </p:txBody>
      </p:sp>
      <p:sp>
        <p:nvSpPr>
          <p:cNvPr id="36" name="Text Box 31"/>
          <p:cNvSpPr txBox="1">
            <a:spLocks noChangeArrowheads="1"/>
          </p:cNvSpPr>
          <p:nvPr/>
        </p:nvSpPr>
        <p:spPr bwMode="auto">
          <a:xfrm>
            <a:off x="737260" y="3070807"/>
            <a:ext cx="5272598" cy="574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es-ES_tradnl" sz="1200" dirty="0" err="1">
                <a:latin typeface="Arial" panose="020B0604020202020204" pitchFamily="34" charset="0"/>
              </a:rPr>
              <a:t>Indraweb</a:t>
            </a:r>
            <a:r>
              <a:rPr lang="es-ES_tradnl" sz="1200" dirty="0">
                <a:latin typeface="Arial" panose="020B0604020202020204" pitchFamily="34" charset="0"/>
              </a:rPr>
              <a:t> &gt; Virtual Campus &gt;Transformación Digital &gt; Minsait: Tecnologías Avanzadas 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endParaRPr lang="es-ES_tradnl" sz="1200" b="0" dirty="0">
              <a:latin typeface="Arial" panose="020B0604020202020204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endParaRPr lang="es-ES_tradnl" sz="1200" b="0" dirty="0">
              <a:latin typeface="Arial" panose="020B0604020202020204" pitchFamily="34" charset="0"/>
            </a:endParaRPr>
          </a:p>
        </p:txBody>
      </p:sp>
      <p:pic>
        <p:nvPicPr>
          <p:cNvPr id="38" name="Imagen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9416" y="3670854"/>
            <a:ext cx="4782676" cy="1542365"/>
          </a:xfrm>
          <a:prstGeom prst="rect">
            <a:avLst/>
          </a:prstGeom>
        </p:spPr>
      </p:pic>
      <p:sp>
        <p:nvSpPr>
          <p:cNvPr id="40" name="Text Box 31"/>
          <p:cNvSpPr txBox="1">
            <a:spLocks noChangeArrowheads="1"/>
          </p:cNvSpPr>
          <p:nvPr/>
        </p:nvSpPr>
        <p:spPr bwMode="auto">
          <a:xfrm>
            <a:off x="6888088" y="2780928"/>
            <a:ext cx="4680520" cy="731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es-ES"/>
            </a:defPPr>
            <a:lvl1pPr eaLnBrk="0" hangingPunct="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 sz="1200" b="1" u="sng">
                <a:latin typeface="Arial" panose="020B0604020202020204" pitchFamily="34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="1"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="1"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="1"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="1"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charset="0"/>
                <a:ea typeface="ＭＳ Ｐゴシック" charset="0"/>
              </a:defRPr>
            </a:lvl9pPr>
          </a:lstStyle>
          <a:p>
            <a:endParaRPr lang="es-ES_tradnl" u="none" dirty="0"/>
          </a:p>
          <a:p>
            <a:r>
              <a:rPr lang="es-ES_tradnl" u="none" dirty="0" err="1"/>
              <a:t>MeetUps</a:t>
            </a:r>
            <a:r>
              <a:rPr lang="es-ES_tradnl" u="none" dirty="0"/>
              <a:t> TA: </a:t>
            </a:r>
            <a:r>
              <a:rPr lang="es-ES" u="none" dirty="0"/>
              <a:t>¿Por qué los clientes deberían pensar en </a:t>
            </a:r>
            <a:r>
              <a:rPr lang="es-ES" u="none" dirty="0" err="1"/>
              <a:t>microservicios</a:t>
            </a:r>
            <a:r>
              <a:rPr lang="es-ES" u="none" dirty="0"/>
              <a:t> para su negocio?</a:t>
            </a:r>
            <a:endParaRPr lang="es-ES_tradnl" u="none" dirty="0">
              <a:solidFill>
                <a:srgbClr val="FF0000"/>
              </a:solidFill>
            </a:endParaRPr>
          </a:p>
          <a:p>
            <a:endParaRPr lang="es-ES_tradnl" u="none" dirty="0"/>
          </a:p>
          <a:p>
            <a:endParaRPr lang="es-ES_tradnl" u="none" dirty="0"/>
          </a:p>
          <a:p>
            <a:endParaRPr lang="es-ES_tradnl" u="none" dirty="0"/>
          </a:p>
          <a:p>
            <a:endParaRPr lang="es-ES_tradnl" u="none" dirty="0"/>
          </a:p>
          <a:p>
            <a:endParaRPr lang="es-ES_tradnl" u="none" dirty="0"/>
          </a:p>
          <a:p>
            <a:endParaRPr lang="es-ES_tradnl" u="none" dirty="0"/>
          </a:p>
        </p:txBody>
      </p:sp>
      <p:pic>
        <p:nvPicPr>
          <p:cNvPr id="41" name="Imagen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16080" y="3686835"/>
            <a:ext cx="4768237" cy="1542365"/>
          </a:xfrm>
          <a:prstGeom prst="rect">
            <a:avLst/>
          </a:prstGeom>
        </p:spPr>
      </p:pic>
      <p:sp>
        <p:nvSpPr>
          <p:cNvPr id="42" name="Título 1"/>
          <p:cNvSpPr txBox="1">
            <a:spLocks/>
          </p:cNvSpPr>
          <p:nvPr/>
        </p:nvSpPr>
        <p:spPr>
          <a:xfrm>
            <a:off x="337189" y="5822025"/>
            <a:ext cx="11519451" cy="55930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389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s-ES" dirty="0"/>
              <a:t>….y valora a nuestros ponentes en Mates! </a:t>
            </a:r>
          </a:p>
        </p:txBody>
      </p:sp>
      <p:pic>
        <p:nvPicPr>
          <p:cNvPr id="43" name="Imagen 4"/>
          <p:cNvPicPr>
            <a:picLocks noChangeAspect="1"/>
          </p:cNvPicPr>
          <p:nvPr/>
        </p:nvPicPr>
        <p:blipFill rotWithShape="1">
          <a:blip r:embed="rId9"/>
          <a:srcRect t="46765"/>
          <a:stretch/>
        </p:blipFill>
        <p:spPr>
          <a:xfrm>
            <a:off x="10128447" y="5665253"/>
            <a:ext cx="1644609" cy="681976"/>
          </a:xfrm>
          <a:prstGeom prst="rect">
            <a:avLst/>
          </a:prstGeom>
        </p:spPr>
      </p:pic>
      <p:sp>
        <p:nvSpPr>
          <p:cNvPr id="47" name="Text Box 31"/>
          <p:cNvSpPr txBox="1">
            <a:spLocks noChangeArrowheads="1"/>
          </p:cNvSpPr>
          <p:nvPr/>
        </p:nvSpPr>
        <p:spPr bwMode="auto">
          <a:xfrm>
            <a:off x="5711187" y="5854337"/>
            <a:ext cx="4303554" cy="307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>
              <a:buClr>
                <a:schemeClr val="accent1"/>
              </a:buClr>
            </a:pPr>
            <a:r>
              <a:rPr lang="es-ES" sz="1400" b="0" dirty="0">
                <a:latin typeface="Arial" panose="020B0604020202020204" pitchFamily="34" charset="0"/>
              </a:rPr>
              <a:t>Javier Santos Andrés - </a:t>
            </a:r>
            <a:r>
              <a:rPr lang="es-ES" sz="1400" b="0" dirty="0">
                <a:latin typeface="Arial" panose="020B0604020202020204" pitchFamily="34" charset="0"/>
                <a:hlinkClick r:id="rId10"/>
              </a:rPr>
              <a:t>jsantosa@minsait.com</a:t>
            </a:r>
            <a:endParaRPr lang="es-ES" sz="1400" b="0" dirty="0">
              <a:latin typeface="Arial" panose="020B0604020202020204" pitchFamily="34" charset="0"/>
            </a:endParaRPr>
          </a:p>
          <a:p>
            <a:pPr algn="r">
              <a:buClr>
                <a:schemeClr val="accent1"/>
              </a:buClr>
            </a:pPr>
            <a:endParaRPr lang="es-ES" sz="1400" b="0" dirty="0">
              <a:latin typeface="Arial" panose="020B0604020202020204" pitchFamily="34" charset="0"/>
            </a:endParaRPr>
          </a:p>
        </p:txBody>
      </p:sp>
      <p:pic>
        <p:nvPicPr>
          <p:cNvPr id="206855" name="Picture 7" descr="D:\01 Ofertas y presentaciones\00 Presentaciones corportativas\Minsait nuevo\Pictogramas_Minsait_PNG_03102018\Pictogramas_Minsait_PNG_03102018\Pictos_Dimension\Oficina y documentos\PD (3)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9622" y="1762828"/>
            <a:ext cx="930514" cy="10882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856" name="Picture 8" descr="D:\01 Ofertas y presentaciones\00 Presentaciones corportativas\Minsait nuevo\Pictogramas_Minsait_PNG_03102018\Pictogramas_Minsait_PNG_03102018\Pictos_Dimension\Objetos genericos\PD (1).png"/>
          <p:cNvPicPr>
            <a:picLocks noChangeAspect="1" noChangeArrowheads="1"/>
          </p:cNvPicPr>
          <p:nvPr/>
        </p:nvPicPr>
        <p:blipFill>
          <a:blip r:embed="rId12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664" y="1623743"/>
            <a:ext cx="1125921" cy="1316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532503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408BF8B-7896-9648-B447-E9B094688D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7014" y="2585145"/>
            <a:ext cx="5094279" cy="3063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7129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blEuQeSpqI_k7tkardI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zzifNeQZaP82kFVtKoF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zzifNeQZaP82kFVtKoF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PNXYAZQHi06ICKl3UmS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TjW6fRS3C2H6NBcEieI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Ot1wT4QviUWl4hpMnGa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ClJvUMT7WZfz3ApXEp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blEuQeSpqI_k7tkardIg"/>
</p:tagLst>
</file>

<file path=ppt/theme/theme1.xml><?xml version="1.0" encoding="utf-8"?>
<a:theme xmlns:a="http://schemas.openxmlformats.org/drawingml/2006/main" name="Portadas">
  <a:themeElements>
    <a:clrScheme name="Minsait">
      <a:dk1>
        <a:srgbClr val="1A3B47"/>
      </a:dk1>
      <a:lt1>
        <a:srgbClr val="FFFFFF"/>
      </a:lt1>
      <a:dk2>
        <a:srgbClr val="FDE3D3"/>
      </a:dk2>
      <a:lt2>
        <a:srgbClr val="E7E6E6"/>
      </a:lt2>
      <a:accent1>
        <a:srgbClr val="FFEA80"/>
      </a:accent1>
      <a:accent2>
        <a:srgbClr val="F7AC6F"/>
      </a:accent2>
      <a:accent3>
        <a:srgbClr val="E88AA2"/>
      </a:accent3>
      <a:accent4>
        <a:srgbClr val="79C5B3"/>
      </a:accent4>
      <a:accent5>
        <a:srgbClr val="639FCB"/>
      </a:accent5>
      <a:accent6>
        <a:srgbClr val="7874B3"/>
      </a:accent6>
      <a:hlink>
        <a:srgbClr val="E88AA2"/>
      </a:hlink>
      <a:folHlink>
        <a:srgbClr val="F7AC6F"/>
      </a:folHlink>
    </a:clrScheme>
    <a:fontScheme name="Personalizado 3">
      <a:majorFont>
        <a:latin typeface="Playfair Display"/>
        <a:ea typeface=""/>
        <a:cs typeface=""/>
      </a:majorFont>
      <a:minorFont>
        <a:latin typeface="Soho Gothic Pro Light"/>
        <a:ea typeface=""/>
        <a:cs typeface="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_Minsait_externa_03102018" id="{5C41357B-7313-429A-8D70-51EB5220553A}" vid="{D77268EC-2466-4A95-A82B-DEA9D01E7CF1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rtadas</Template>
  <TotalTime>646</TotalTime>
  <Words>559</Words>
  <Application>Microsoft Macintosh PowerPoint</Application>
  <PresentationFormat>Widescreen</PresentationFormat>
  <Paragraphs>76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ＭＳ Ｐゴシック</vt:lpstr>
      <vt:lpstr>Arial</vt:lpstr>
      <vt:lpstr>Georgia</vt:lpstr>
      <vt:lpstr>Neo Sans</vt:lpstr>
      <vt:lpstr>Playfair Display</vt:lpstr>
      <vt:lpstr>Soho Gothic Pro</vt:lpstr>
      <vt:lpstr>Soho Gothic Pro Light</vt:lpstr>
      <vt:lpstr>Wingdings</vt:lpstr>
      <vt:lpstr>Portadas</vt:lpstr>
      <vt:lpstr>Diapositiva de think-cell</vt:lpstr>
      <vt:lpstr>Los tres pilares de la Observabilidad </vt:lpstr>
      <vt:lpstr>PowerPoint Presentation</vt:lpstr>
      <vt:lpstr>El foco en el negocio implica una transformación de la TI para convertirse en palanca de innovación y crecimiento</vt:lpstr>
      <vt:lpstr>Observabilidad</vt:lpstr>
      <vt:lpstr>Evolución de las Arquitecturas</vt:lpstr>
      <vt:lpstr>Descarga la presentación…..</vt:lpstr>
      <vt:lpstr>PowerPoint Presentation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roservicios Cómo mejorar el negocio: De las aplicaciones tradicionales a los microservicios</dc:title>
  <dc:creator>Ahijado Martín-Navarro, Francisco Javier</dc:creator>
  <cp:lastModifiedBy>Santos Andrés, Javier</cp:lastModifiedBy>
  <cp:revision>97</cp:revision>
  <cp:lastPrinted>2018-09-05T10:32:03Z</cp:lastPrinted>
  <dcterms:created xsi:type="dcterms:W3CDTF">2019-06-22T21:12:25Z</dcterms:created>
  <dcterms:modified xsi:type="dcterms:W3CDTF">2021-06-15T11:04:11Z</dcterms:modified>
</cp:coreProperties>
</file>